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  <p:sldMasterId id="2147483881" r:id="rId5"/>
    <p:sldMasterId id="2147483934" r:id="rId6"/>
    <p:sldMasterId id="2147483940" r:id="rId7"/>
  </p:sldMasterIdLst>
  <p:notesMasterIdLst>
    <p:notesMasterId r:id="rId25"/>
  </p:notesMasterIdLst>
  <p:handoutMasterIdLst>
    <p:handoutMasterId r:id="rId26"/>
  </p:handoutMasterIdLst>
  <p:sldIdLst>
    <p:sldId id="257" r:id="rId8"/>
    <p:sldId id="320" r:id="rId9"/>
    <p:sldId id="943" r:id="rId10"/>
    <p:sldId id="944" r:id="rId11"/>
    <p:sldId id="945" r:id="rId12"/>
    <p:sldId id="946" r:id="rId13"/>
    <p:sldId id="947" r:id="rId14"/>
    <p:sldId id="322" r:id="rId15"/>
    <p:sldId id="321" r:id="rId16"/>
    <p:sldId id="942" r:id="rId17"/>
    <p:sldId id="941" r:id="rId18"/>
    <p:sldId id="936" r:id="rId19"/>
    <p:sldId id="937" r:id="rId20"/>
    <p:sldId id="931" r:id="rId21"/>
    <p:sldId id="934" r:id="rId22"/>
    <p:sldId id="935" r:id="rId23"/>
    <p:sldId id="300" r:id="rId24"/>
  </p:sldIdLst>
  <p:sldSz cx="9144000" cy="6858000" type="screen4x3"/>
  <p:notesSz cx="7035800" cy="9321800"/>
  <p:custDataLst>
    <p:tags r:id="rId27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Times" panose="02020603050405020304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>
          <p15:clr>
            <a:srgbClr val="A4A3A4"/>
          </p15:clr>
        </p15:guide>
        <p15:guide id="2" pos="221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hnson, Steven (UTC)" initials="JS(" lastIdx="1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0040"/>
    <a:srgbClr val="C2113A"/>
    <a:srgbClr val="1E4ABD"/>
    <a:srgbClr val="002A6C"/>
    <a:srgbClr val="DDDDDD"/>
    <a:srgbClr val="666666"/>
    <a:srgbClr val="B2D7EC"/>
    <a:srgbClr val="CCCCCC"/>
    <a:srgbClr val="0033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644" autoAdjust="0"/>
    <p:restoredTop sz="91090" autoAdjust="0"/>
  </p:normalViewPr>
  <p:slideViewPr>
    <p:cSldViewPr>
      <p:cViewPr varScale="1">
        <p:scale>
          <a:sx n="57" d="100"/>
          <a:sy n="57" d="100"/>
        </p:scale>
        <p:origin x="1880" y="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68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6" d="100"/>
          <a:sy n="66" d="100"/>
        </p:scale>
        <p:origin x="-3216" y="-120"/>
      </p:cViewPr>
      <p:guideLst>
        <p:guide orient="horz" pos="2936"/>
        <p:guide pos="221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493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240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493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493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240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62037136-268F-4BC0-AB32-8A88225F88D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979709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90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2400" y="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8400" y="685800"/>
            <a:ext cx="4673600" cy="35052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90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419600"/>
            <a:ext cx="5181600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90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290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62400" y="8839200"/>
            <a:ext cx="3048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833BA2F-4FF3-40AD-A8F3-0DEE5491FA2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7184649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833BA2F-4FF3-40AD-A8F3-0DEE5491FA26}" type="slidenum">
              <a:rPr lang="en-US" altLang="en-US" smtClean="0"/>
              <a:pPr>
                <a:defRPr/>
              </a:pPr>
              <a:t>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1621257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833BA2F-4FF3-40AD-A8F3-0DEE5491FA2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panose="02020603050405020304" pitchFamily="18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3604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833BA2F-4FF3-40AD-A8F3-0DEE5491FA2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panose="02020603050405020304" pitchFamily="18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58450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833BA2F-4FF3-40AD-A8F3-0DEE5491FA2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panose="02020603050405020304" pitchFamily="18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33439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833BA2F-4FF3-40AD-A8F3-0DEE5491FA26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" panose="02020603050405020304" pitchFamily="18" charset="0"/>
                <a:ea typeface="+mn-ea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11992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833BA2F-4FF3-40AD-A8F3-0DEE5491FA26}" type="slidenum">
              <a:rPr lang="en-US" altLang="en-US" smtClean="0"/>
              <a:pPr>
                <a:defRPr/>
              </a:pPr>
              <a:t>1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70676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833BA2F-4FF3-40AD-A8F3-0DEE5491FA26}" type="slidenum">
              <a:rPr lang="en-US" altLang="en-US" smtClean="0"/>
              <a:pPr>
                <a:defRPr/>
              </a:pPr>
              <a:t>15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17661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200" y="387350"/>
            <a:ext cx="213995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152400" y="1752600"/>
            <a:ext cx="8991600" cy="5105400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0" y="1752600"/>
            <a:ext cx="9144000" cy="152400"/>
          </a:xfrm>
          <a:prstGeom prst="rect">
            <a:avLst/>
          </a:prstGeom>
          <a:solidFill>
            <a:srgbClr val="C2113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0" y="1905000"/>
            <a:ext cx="152400" cy="4953000"/>
          </a:xfrm>
          <a:prstGeom prst="rect">
            <a:avLst/>
          </a:prstGeom>
          <a:solidFill>
            <a:srgbClr val="002A6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pic>
        <p:nvPicPr>
          <p:cNvPr id="7" name="Picture 15" descr="NARUC_logo-Blue_Gold-text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2400" y="376238"/>
            <a:ext cx="2181225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7" descr="P:\International Dept\Admin\Admin\Logos\USAID\Web, Digital, Video and Office Printers\USAIDLogo_2ColorRGB\Horizontal_RGB_294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04800" y="33338"/>
            <a:ext cx="4267200" cy="1660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3048000"/>
            <a:ext cx="7772400" cy="1524000"/>
          </a:xfrm>
        </p:spPr>
        <p:txBody>
          <a:bodyPr/>
          <a:lstStyle>
            <a:lvl1pPr algn="ctr"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B2C059-08C3-46B8-A848-6E0E1749069C}" type="slidenum">
              <a:rPr lang="en-US" altLang="en-US"/>
              <a:pPr>
                <a:defRPr/>
              </a:pPr>
              <a:t>‹#›</a:t>
            </a:fld>
            <a:r>
              <a:rPr lang="en-US" altLang="en-US" dirty="0"/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30316979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7600539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5" y="0"/>
            <a:ext cx="4571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5"/>
            <a:ext cx="4572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710289" y="858420"/>
            <a:ext cx="2222577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4394" y="858420"/>
            <a:ext cx="3935212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396705"/>
            <a:ext cx="977407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8951" y="6396704"/>
            <a:ext cx="45809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898724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9151264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8952" y="-3149"/>
            <a:ext cx="894833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400054" y="3692359"/>
            <a:ext cx="41825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400054" y="3059448"/>
            <a:ext cx="4615735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4981" y="6197562"/>
            <a:ext cx="1994246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952" y="-3993"/>
            <a:ext cx="2107275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8893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47" y="3692"/>
            <a:ext cx="9151264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089864" y="3588760"/>
            <a:ext cx="6754213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089865" y="3692359"/>
            <a:ext cx="6754212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089865" y="3059448"/>
            <a:ext cx="6754212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5600" y="6042893"/>
            <a:ext cx="235839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8217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_Gra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4" name="Text Placeholder 18"/>
          <p:cNvSpPr txBox="1">
            <a:spLocks/>
          </p:cNvSpPr>
          <p:nvPr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18"/>
          <p:cNvSpPr txBox="1">
            <a:spLocks/>
          </p:cNvSpPr>
          <p:nvPr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0" y="0"/>
            <a:ext cx="9144000" cy="1074396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15590" y="1"/>
            <a:ext cx="8717276" cy="1011420"/>
          </a:xfrm>
          <a:prstGeom prst="rect">
            <a:avLst/>
          </a:prstGeom>
        </p:spPr>
        <p:txBody>
          <a:bodyPr anchor="b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 bwMode="auto">
          <a:xfrm>
            <a:off x="0" y="1074396"/>
            <a:ext cx="9144000" cy="151354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Palatino Linotyp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5009845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5" y="0"/>
            <a:ext cx="4571999" cy="68571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 userDrawn="1"/>
        </p:nvSpPr>
        <p:spPr>
          <a:xfrm>
            <a:off x="1" y="865"/>
            <a:ext cx="4572000" cy="6857135"/>
          </a:xfrm>
          <a:prstGeom prst="rect">
            <a:avLst/>
          </a:prstGeom>
          <a:solidFill>
            <a:srgbClr val="5C5C5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Text Placeholder 23"/>
          <p:cNvSpPr>
            <a:spLocks noGrp="1"/>
          </p:cNvSpPr>
          <p:nvPr>
            <p:ph type="body" sz="quarter" idx="12" hasCustomPrompt="1"/>
          </p:nvPr>
        </p:nvSpPr>
        <p:spPr>
          <a:xfrm>
            <a:off x="6710289" y="858420"/>
            <a:ext cx="2222577" cy="4842504"/>
          </a:xfrm>
          <a:prstGeom prst="rect">
            <a:avLst/>
          </a:prstGeom>
        </p:spPr>
        <p:txBody>
          <a:bodyPr vert="horz" lIns="0" rIns="0" bIns="0" anchor="ctr"/>
          <a:lstStyle>
            <a:lvl1pPr marL="0" indent="0">
              <a:buFontTx/>
              <a:buNone/>
              <a:defRPr sz="2000" cap="all" baseline="0">
                <a:solidFill>
                  <a:srgbClr val="555759"/>
                </a:solidFill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DIVIDER SLIDE</a:t>
            </a:r>
          </a:p>
          <a:p>
            <a:pPr lvl="0"/>
            <a:r>
              <a:rPr lang="en-US" dirty="0"/>
              <a:t>OPTIONAL TEXT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4394" y="858420"/>
            <a:ext cx="3935212" cy="48425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459" y="6396705"/>
            <a:ext cx="977407" cy="168678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-8951" y="6396704"/>
            <a:ext cx="45809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i="1" dirty="0">
                <a:solidFill>
                  <a:srgbClr val="555759">
                    <a:lumMod val="60000"/>
                    <a:lumOff val="40000"/>
                  </a:srgbClr>
                </a:solidFill>
              </a:rPr>
              <a:t>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28154375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7772400" cy="9906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971800"/>
            <a:ext cx="7772400" cy="2819400"/>
          </a:xfrm>
        </p:spPr>
        <p:txBody>
          <a:bodyPr/>
          <a:lstStyle>
            <a:lvl1pPr>
              <a:defRPr sz="2400" baseline="0"/>
            </a:lvl1pPr>
            <a:lvl2pPr>
              <a:defRPr baseline="0"/>
            </a:lvl2pPr>
            <a:lvl3pPr marL="1143000" indent="1588">
              <a:buFont typeface="Wingdings" panose="05000000000000000000" pitchFamily="2" charset="2"/>
              <a:buChar char="§"/>
              <a:defRPr baseline="0"/>
            </a:lvl3pPr>
            <a:lvl5pPr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336DD1-A3F4-4075-A024-5940F02513C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803839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>
            <a:spLocks noChangeArrowheads="1"/>
          </p:cNvSpPr>
          <p:nvPr userDrawn="1"/>
        </p:nvSpPr>
        <p:spPr bwMode="auto">
          <a:xfrm>
            <a:off x="381000" y="2895600"/>
            <a:ext cx="8382000" cy="230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defRPr sz="2800">
                <a:solidFill>
                  <a:schemeClr val="tx1"/>
                </a:solidFill>
                <a:latin typeface="Times" charset="0"/>
              </a:defRPr>
            </a:lvl1pPr>
            <a:lvl2pPr marL="800100" indent="-342900">
              <a:defRPr sz="2800">
                <a:solidFill>
                  <a:schemeClr val="tx1"/>
                </a:solidFill>
                <a:latin typeface="Times" charset="0"/>
              </a:defRPr>
            </a:lvl2pPr>
            <a:lvl3pPr marL="1257300" indent="-342900">
              <a:defRPr sz="2800">
                <a:solidFill>
                  <a:schemeClr val="tx1"/>
                </a:solidFill>
                <a:latin typeface="Times" charset="0"/>
              </a:defRPr>
            </a:lvl3pPr>
            <a:lvl4pPr marL="1714500" indent="-342900">
              <a:defRPr sz="2800">
                <a:solidFill>
                  <a:schemeClr val="tx1"/>
                </a:solidFill>
                <a:latin typeface="Times" charset="0"/>
              </a:defRPr>
            </a:lvl4pPr>
            <a:lvl5pPr marL="2171700" indent="-342900">
              <a:defRPr sz="2800">
                <a:solidFill>
                  <a:schemeClr val="tx1"/>
                </a:solidFill>
                <a:latin typeface="Times" charset="0"/>
              </a:defRPr>
            </a:lvl5pPr>
            <a:lvl6pPr marL="2628900" indent="-3429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charset="0"/>
              </a:defRPr>
            </a:lvl6pPr>
            <a:lvl7pPr marL="3086100" indent="-3429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charset="0"/>
              </a:defRPr>
            </a:lvl7pPr>
            <a:lvl8pPr marL="3543300" indent="-3429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charset="0"/>
              </a:defRPr>
            </a:lvl8pPr>
            <a:lvl9pPr marL="4000500" indent="-3429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charset="0"/>
              </a:defRPr>
            </a:lvl9pPr>
          </a:lstStyle>
          <a:p>
            <a:pPr>
              <a:buFont typeface="Arial" charset="0"/>
              <a:buChar char="•"/>
              <a:defRPr/>
            </a:pPr>
            <a:r>
              <a:rPr lang="en-US" altLang="en-US" sz="2400" dirty="0"/>
              <a:t>Coordination between the Power System Planners and Industrialists</a:t>
            </a:r>
          </a:p>
          <a:p>
            <a:pPr lvl="1">
              <a:buFont typeface="Arial" charset="0"/>
              <a:buChar char="•"/>
              <a:defRPr/>
            </a:pPr>
            <a:r>
              <a:rPr lang="en-US" altLang="en-US" sz="2400" dirty="0"/>
              <a:t>Locations of industries </a:t>
            </a:r>
          </a:p>
          <a:p>
            <a:pPr lvl="2">
              <a:buFont typeface="Arial" charset="0"/>
              <a:buChar char="•"/>
              <a:defRPr/>
            </a:pPr>
            <a:r>
              <a:rPr lang="en-US" altLang="en-US" sz="2400" dirty="0"/>
              <a:t>Access to appropriate/adequate source of Power</a:t>
            </a:r>
          </a:p>
          <a:p>
            <a:pPr lvl="3">
              <a:buFont typeface="Arial" charset="0"/>
              <a:buChar char="•"/>
              <a:defRPr/>
            </a:pPr>
            <a:r>
              <a:rPr lang="en-US" altLang="en-US" sz="2400" dirty="0"/>
              <a:t>Dispersed Loads Centers</a:t>
            </a:r>
          </a:p>
          <a:p>
            <a:pPr lvl="4">
              <a:buFont typeface="Arial" charset="0"/>
              <a:buChar char="•"/>
              <a:defRPr/>
            </a:pPr>
            <a:r>
              <a:rPr lang="en-US" altLang="en-US" sz="2400" dirty="0"/>
              <a:t>Land Zoning (Commercial, Industrial etc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8001000" cy="8382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E392D2-BF53-456F-950E-D28202E0E1D8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729911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1DAE91-B71C-463C-B7F5-6AFE44BD3E08}" type="datetimeFigureOut">
              <a:rPr lang="en-US"/>
              <a:pPr>
                <a:defRPr/>
              </a:pPr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9E5B90-9DA9-4B03-AE26-1D26513FB38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714623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B82A98-F9CA-476E-B946-6E12076C6C6A}" type="datetimeFigureOut">
              <a:rPr lang="en-US"/>
              <a:pPr>
                <a:defRPr/>
              </a:pPr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4644CF-567A-40C8-A422-C50B3A0A0126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28120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1FF69-746C-4D83-93B4-155F44955AB5}" type="datetimeFigureOut">
              <a:rPr lang="en-US"/>
              <a:pPr>
                <a:defRPr/>
              </a:pPr>
              <a:t>7/3/2020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89E29A-6BFE-46BA-848E-645701403793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124920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182B0B-B288-4DEB-A434-58C8F78D1D5F}" type="datetimeFigureOut">
              <a:rPr lang="en-US"/>
              <a:pPr>
                <a:defRPr/>
              </a:pPr>
              <a:t>7/3/2020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F65AD9-2CDE-4539-B3D1-454BFF24605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19242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gal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84731"/>
            <a:ext cx="9151264" cy="6854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9" name="Freeform 8"/>
          <p:cNvSpPr/>
          <p:nvPr userDrawn="1"/>
        </p:nvSpPr>
        <p:spPr>
          <a:xfrm>
            <a:off x="-8952" y="-3149"/>
            <a:ext cx="8948339" cy="6942187"/>
          </a:xfrm>
          <a:custGeom>
            <a:avLst/>
            <a:gdLst>
              <a:gd name="connsiteX0" fmla="*/ 1643975 w 8501975"/>
              <a:gd name="connsiteY0" fmla="*/ 0 h 5175115"/>
              <a:gd name="connsiteX1" fmla="*/ 8501975 w 8501975"/>
              <a:gd name="connsiteY1" fmla="*/ 19455 h 5175115"/>
              <a:gd name="connsiteX2" fmla="*/ 4289898 w 8501975"/>
              <a:gd name="connsiteY2" fmla="*/ 5175115 h 5175115"/>
              <a:gd name="connsiteX3" fmla="*/ 0 w 8501975"/>
              <a:gd name="connsiteY3" fmla="*/ 5175115 h 5175115"/>
              <a:gd name="connsiteX4" fmla="*/ 0 w 8501975"/>
              <a:gd name="connsiteY4" fmla="*/ 4027251 h 5175115"/>
              <a:gd name="connsiteX5" fmla="*/ 1643975 w 8501975"/>
              <a:gd name="connsiteY5" fmla="*/ 0 h 5175115"/>
              <a:gd name="connsiteX0" fmla="*/ 1649126 w 8507126"/>
              <a:gd name="connsiteY0" fmla="*/ 0 h 5175115"/>
              <a:gd name="connsiteX1" fmla="*/ 8507126 w 8507126"/>
              <a:gd name="connsiteY1" fmla="*/ 19455 h 5175115"/>
              <a:gd name="connsiteX2" fmla="*/ 4295049 w 8507126"/>
              <a:gd name="connsiteY2" fmla="*/ 5175115 h 5175115"/>
              <a:gd name="connsiteX3" fmla="*/ 5151 w 8507126"/>
              <a:gd name="connsiteY3" fmla="*/ 5175115 h 5175115"/>
              <a:gd name="connsiteX4" fmla="*/ 0 w 8507126"/>
              <a:gd name="connsiteY4" fmla="*/ 4037554 h 5175115"/>
              <a:gd name="connsiteX5" fmla="*/ 1649126 w 8507126"/>
              <a:gd name="connsiteY5" fmla="*/ 0 h 5175115"/>
              <a:gd name="connsiteX0" fmla="*/ 1649127 w 8507127"/>
              <a:gd name="connsiteY0" fmla="*/ 0 h 5175115"/>
              <a:gd name="connsiteX1" fmla="*/ 8507127 w 8507127"/>
              <a:gd name="connsiteY1" fmla="*/ 19455 h 5175115"/>
              <a:gd name="connsiteX2" fmla="*/ 4295050 w 8507127"/>
              <a:gd name="connsiteY2" fmla="*/ 5175115 h 5175115"/>
              <a:gd name="connsiteX3" fmla="*/ 0 w 8507127"/>
              <a:gd name="connsiteY3" fmla="*/ 5175115 h 5175115"/>
              <a:gd name="connsiteX4" fmla="*/ 1 w 8507127"/>
              <a:gd name="connsiteY4" fmla="*/ 4037554 h 5175115"/>
              <a:gd name="connsiteX5" fmla="*/ 1649127 w 8507127"/>
              <a:gd name="connsiteY5" fmla="*/ 0 h 5175115"/>
              <a:gd name="connsiteX0" fmla="*/ 1690339 w 8507127"/>
              <a:gd name="connsiteY0" fmla="*/ 34637 h 5155660"/>
              <a:gd name="connsiteX1" fmla="*/ 8507127 w 8507127"/>
              <a:gd name="connsiteY1" fmla="*/ 0 h 5155660"/>
              <a:gd name="connsiteX2" fmla="*/ 4295050 w 8507127"/>
              <a:gd name="connsiteY2" fmla="*/ 5155660 h 5155660"/>
              <a:gd name="connsiteX3" fmla="*/ 0 w 8507127"/>
              <a:gd name="connsiteY3" fmla="*/ 5155660 h 5155660"/>
              <a:gd name="connsiteX4" fmla="*/ 1 w 8507127"/>
              <a:gd name="connsiteY4" fmla="*/ 4018099 h 5155660"/>
              <a:gd name="connsiteX5" fmla="*/ 1690339 w 8507127"/>
              <a:gd name="connsiteY5" fmla="*/ 34637 h 5155660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 w 8507127"/>
              <a:gd name="connsiteY4" fmla="*/ 4019523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46365 w 8507127"/>
              <a:gd name="connsiteY4" fmla="*/ 4006644 h 5157084"/>
              <a:gd name="connsiteX5" fmla="*/ 1651702 w 8507127"/>
              <a:gd name="connsiteY5" fmla="*/ 0 h 5157084"/>
              <a:gd name="connsiteX0" fmla="*/ 1651702 w 8507127"/>
              <a:gd name="connsiteY0" fmla="*/ 0 h 5157084"/>
              <a:gd name="connsiteX1" fmla="*/ 8507127 w 8507127"/>
              <a:gd name="connsiteY1" fmla="*/ 1424 h 5157084"/>
              <a:gd name="connsiteX2" fmla="*/ 4295050 w 8507127"/>
              <a:gd name="connsiteY2" fmla="*/ 5157084 h 5157084"/>
              <a:gd name="connsiteX3" fmla="*/ 0 w 8507127"/>
              <a:gd name="connsiteY3" fmla="*/ 5157084 h 5157084"/>
              <a:gd name="connsiteX4" fmla="*/ 15455 w 8507127"/>
              <a:gd name="connsiteY4" fmla="*/ 3973159 h 5157084"/>
              <a:gd name="connsiteX5" fmla="*/ 1651702 w 8507127"/>
              <a:gd name="connsiteY5" fmla="*/ 0 h 5157084"/>
              <a:gd name="connsiteX0" fmla="*/ 1636247 w 8491672"/>
              <a:gd name="connsiteY0" fmla="*/ 0 h 5157084"/>
              <a:gd name="connsiteX1" fmla="*/ 8491672 w 8491672"/>
              <a:gd name="connsiteY1" fmla="*/ 1424 h 5157084"/>
              <a:gd name="connsiteX2" fmla="*/ 4279595 w 8491672"/>
              <a:gd name="connsiteY2" fmla="*/ 5157084 h 5157084"/>
              <a:gd name="connsiteX3" fmla="*/ 64394 w 8491672"/>
              <a:gd name="connsiteY3" fmla="*/ 5157084 h 5157084"/>
              <a:gd name="connsiteX4" fmla="*/ 0 w 8491672"/>
              <a:gd name="connsiteY4" fmla="*/ 3973159 h 5157084"/>
              <a:gd name="connsiteX5" fmla="*/ 1636247 w 8491672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2576 w 8494248"/>
              <a:gd name="connsiteY4" fmla="*/ 3973159 h 5157084"/>
              <a:gd name="connsiteX5" fmla="*/ 1638823 w 8494248"/>
              <a:gd name="connsiteY5" fmla="*/ 0 h 5157084"/>
              <a:gd name="connsiteX0" fmla="*/ 1638823 w 8494248"/>
              <a:gd name="connsiteY0" fmla="*/ 0 h 5157084"/>
              <a:gd name="connsiteX1" fmla="*/ 8494248 w 8494248"/>
              <a:gd name="connsiteY1" fmla="*/ 1424 h 5157084"/>
              <a:gd name="connsiteX2" fmla="*/ 4282171 w 8494248"/>
              <a:gd name="connsiteY2" fmla="*/ 5157084 h 5157084"/>
              <a:gd name="connsiteX3" fmla="*/ 0 w 8494248"/>
              <a:gd name="connsiteY3" fmla="*/ 5157084 h 5157084"/>
              <a:gd name="connsiteX4" fmla="*/ 38637 w 8494248"/>
              <a:gd name="connsiteY4" fmla="*/ 4029826 h 5157084"/>
              <a:gd name="connsiteX5" fmla="*/ 1638823 w 8494248"/>
              <a:gd name="connsiteY5" fmla="*/ 0 h 5157084"/>
              <a:gd name="connsiteX0" fmla="*/ 1641398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41398 w 8496823"/>
              <a:gd name="connsiteY5" fmla="*/ 0 h 5157084"/>
              <a:gd name="connsiteX0" fmla="*/ 1638256 w 8496823"/>
              <a:gd name="connsiteY0" fmla="*/ 0 h 5157084"/>
              <a:gd name="connsiteX1" fmla="*/ 8496823 w 8496823"/>
              <a:gd name="connsiteY1" fmla="*/ 1424 h 5157084"/>
              <a:gd name="connsiteX2" fmla="*/ 4284746 w 8496823"/>
              <a:gd name="connsiteY2" fmla="*/ 5157084 h 5157084"/>
              <a:gd name="connsiteX3" fmla="*/ 2575 w 8496823"/>
              <a:gd name="connsiteY3" fmla="*/ 5157084 h 5157084"/>
              <a:gd name="connsiteX4" fmla="*/ 0 w 8496823"/>
              <a:gd name="connsiteY4" fmla="*/ 3983462 h 5157084"/>
              <a:gd name="connsiteX5" fmla="*/ 1638256 w 8496823"/>
              <a:gd name="connsiteY5" fmla="*/ 0 h 5157084"/>
              <a:gd name="connsiteX0" fmla="*/ 1638256 w 8496823"/>
              <a:gd name="connsiteY0" fmla="*/ 0 h 6846184"/>
              <a:gd name="connsiteX1" fmla="*/ 8496823 w 8496823"/>
              <a:gd name="connsiteY1" fmla="*/ 1424 h 6846184"/>
              <a:gd name="connsiteX2" fmla="*/ 2900446 w 8496823"/>
              <a:gd name="connsiteY2" fmla="*/ 6846184 h 6846184"/>
              <a:gd name="connsiteX3" fmla="*/ 2575 w 8496823"/>
              <a:gd name="connsiteY3" fmla="*/ 5157084 h 6846184"/>
              <a:gd name="connsiteX4" fmla="*/ 0 w 8496823"/>
              <a:gd name="connsiteY4" fmla="*/ 3983462 h 6846184"/>
              <a:gd name="connsiteX5" fmla="*/ 1638256 w 8496823"/>
              <a:gd name="connsiteY5" fmla="*/ 0 h 6846184"/>
              <a:gd name="connsiteX0" fmla="*/ 16483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648381 w 8506948"/>
              <a:gd name="connsiteY5" fmla="*/ 0 h 6858884"/>
              <a:gd name="connsiteX0" fmla="*/ 1597581 w 8506948"/>
              <a:gd name="connsiteY0" fmla="*/ 0 h 6858884"/>
              <a:gd name="connsiteX1" fmla="*/ 8506948 w 8506948"/>
              <a:gd name="connsiteY1" fmla="*/ 1424 h 6858884"/>
              <a:gd name="connsiteX2" fmla="*/ 2910571 w 8506948"/>
              <a:gd name="connsiteY2" fmla="*/ 6846184 h 6858884"/>
              <a:gd name="connsiteX3" fmla="*/ 0 w 8506948"/>
              <a:gd name="connsiteY3" fmla="*/ 6858884 h 6858884"/>
              <a:gd name="connsiteX4" fmla="*/ 10125 w 8506948"/>
              <a:gd name="connsiteY4" fmla="*/ 3983462 h 6858884"/>
              <a:gd name="connsiteX5" fmla="*/ 1597581 w 8506948"/>
              <a:gd name="connsiteY5" fmla="*/ 0 h 6858884"/>
              <a:gd name="connsiteX0" fmla="*/ 2083733 w 8993100"/>
              <a:gd name="connsiteY0" fmla="*/ 0 h 6858884"/>
              <a:gd name="connsiteX1" fmla="*/ 8993100 w 8993100"/>
              <a:gd name="connsiteY1" fmla="*/ 1424 h 6858884"/>
              <a:gd name="connsiteX2" fmla="*/ 3396723 w 8993100"/>
              <a:gd name="connsiteY2" fmla="*/ 6846184 h 6858884"/>
              <a:gd name="connsiteX3" fmla="*/ 486152 w 8993100"/>
              <a:gd name="connsiteY3" fmla="*/ 6858884 h 6858884"/>
              <a:gd name="connsiteX4" fmla="*/ 0 w 8993100"/>
              <a:gd name="connsiteY4" fmla="*/ 5136231 h 6858884"/>
              <a:gd name="connsiteX5" fmla="*/ 2083733 w 8993100"/>
              <a:gd name="connsiteY5" fmla="*/ 0 h 6858884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36231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96723 w 8993100"/>
              <a:gd name="connsiteY2" fmla="*/ 6846184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9413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57907"/>
              <a:gd name="connsiteX1" fmla="*/ 8993100 w 8993100"/>
              <a:gd name="connsiteY1" fmla="*/ 1424 h 6857907"/>
              <a:gd name="connsiteX2" fmla="*/ 3388908 w 8993100"/>
              <a:gd name="connsiteY2" fmla="*/ 6857907 h 6857907"/>
              <a:gd name="connsiteX3" fmla="*/ 99290 w 8993100"/>
              <a:gd name="connsiteY3" fmla="*/ 6851069 h 6857907"/>
              <a:gd name="connsiteX4" fmla="*/ 0 w 8993100"/>
              <a:gd name="connsiteY4" fmla="*/ 5124508 h 6857907"/>
              <a:gd name="connsiteX5" fmla="*/ 2083733 w 8993100"/>
              <a:gd name="connsiteY5" fmla="*/ 0 h 6857907"/>
              <a:gd name="connsiteX0" fmla="*/ 2083733 w 8993100"/>
              <a:gd name="connsiteY0" fmla="*/ 0 h 6862792"/>
              <a:gd name="connsiteX1" fmla="*/ 8993100 w 8993100"/>
              <a:gd name="connsiteY1" fmla="*/ 1424 h 6862792"/>
              <a:gd name="connsiteX2" fmla="*/ 3388908 w 8993100"/>
              <a:gd name="connsiteY2" fmla="*/ 6857907 h 6862792"/>
              <a:gd name="connsiteX3" fmla="*/ 5505 w 8993100"/>
              <a:gd name="connsiteY3" fmla="*/ 6862792 h 6862792"/>
              <a:gd name="connsiteX4" fmla="*/ 0 w 8993100"/>
              <a:gd name="connsiteY4" fmla="*/ 5124508 h 6862792"/>
              <a:gd name="connsiteX5" fmla="*/ 2083733 w 8993100"/>
              <a:gd name="connsiteY5" fmla="*/ 0 h 6862792"/>
              <a:gd name="connsiteX0" fmla="*/ 2083733 w 8993100"/>
              <a:gd name="connsiteY0" fmla="*/ 0 h 6867554"/>
              <a:gd name="connsiteX1" fmla="*/ 8993100 w 8993100"/>
              <a:gd name="connsiteY1" fmla="*/ 6186 h 6867554"/>
              <a:gd name="connsiteX2" fmla="*/ 3388908 w 8993100"/>
              <a:gd name="connsiteY2" fmla="*/ 6862669 h 6867554"/>
              <a:gd name="connsiteX3" fmla="*/ 5505 w 8993100"/>
              <a:gd name="connsiteY3" fmla="*/ 6867554 h 6867554"/>
              <a:gd name="connsiteX4" fmla="*/ 0 w 8993100"/>
              <a:gd name="connsiteY4" fmla="*/ 5129270 h 6867554"/>
              <a:gd name="connsiteX5" fmla="*/ 2083733 w 8993100"/>
              <a:gd name="connsiteY5" fmla="*/ 0 h 6867554"/>
              <a:gd name="connsiteX0" fmla="*/ 2083733 w 8791676"/>
              <a:gd name="connsiteY0" fmla="*/ 0 h 6867554"/>
              <a:gd name="connsiteX1" fmla="*/ 8791676 w 8791676"/>
              <a:gd name="connsiteY1" fmla="*/ 22172 h 6867554"/>
              <a:gd name="connsiteX2" fmla="*/ 3388908 w 8791676"/>
              <a:gd name="connsiteY2" fmla="*/ 6862669 h 6867554"/>
              <a:gd name="connsiteX3" fmla="*/ 5505 w 8791676"/>
              <a:gd name="connsiteY3" fmla="*/ 6867554 h 6867554"/>
              <a:gd name="connsiteX4" fmla="*/ 0 w 8791676"/>
              <a:gd name="connsiteY4" fmla="*/ 5129270 h 6867554"/>
              <a:gd name="connsiteX5" fmla="*/ 2083733 w 8791676"/>
              <a:gd name="connsiteY5" fmla="*/ 0 h 6867554"/>
              <a:gd name="connsiteX0" fmla="*/ 2083733 w 8948339"/>
              <a:gd name="connsiteY0" fmla="*/ 208 h 6867762"/>
              <a:gd name="connsiteX1" fmla="*/ 8948339 w 8948339"/>
              <a:gd name="connsiteY1" fmla="*/ 0 h 6867762"/>
              <a:gd name="connsiteX2" fmla="*/ 3388908 w 8948339"/>
              <a:gd name="connsiteY2" fmla="*/ 6862877 h 6867762"/>
              <a:gd name="connsiteX3" fmla="*/ 5505 w 8948339"/>
              <a:gd name="connsiteY3" fmla="*/ 6867762 h 6867762"/>
              <a:gd name="connsiteX4" fmla="*/ 0 w 8948339"/>
              <a:gd name="connsiteY4" fmla="*/ 5129478 h 6867762"/>
              <a:gd name="connsiteX5" fmla="*/ 2083733 w 8948339"/>
              <a:gd name="connsiteY5" fmla="*/ 208 h 68677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48339" h="6867762">
                <a:moveTo>
                  <a:pt x="2083733" y="208"/>
                </a:moveTo>
                <a:lnTo>
                  <a:pt x="8948339" y="0"/>
                </a:lnTo>
                <a:lnTo>
                  <a:pt x="3388908" y="6862877"/>
                </a:lnTo>
                <a:lnTo>
                  <a:pt x="5505" y="6867762"/>
                </a:lnTo>
                <a:cubicBezTo>
                  <a:pt x="5505" y="6488575"/>
                  <a:pt x="0" y="5508665"/>
                  <a:pt x="0" y="5129478"/>
                </a:cubicBezTo>
                <a:lnTo>
                  <a:pt x="2083733" y="208"/>
                </a:lnTo>
                <a:close/>
              </a:path>
            </a:pathLst>
          </a:custGeom>
          <a:solidFill>
            <a:srgbClr val="5557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1400053" y="3588760"/>
            <a:ext cx="4953000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1400054" y="3692359"/>
            <a:ext cx="4182599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1400054" y="3059448"/>
            <a:ext cx="4615735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4981" y="6197562"/>
            <a:ext cx="1994246" cy="34383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rgbClr val="95D600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8952" y="-3993"/>
            <a:ext cx="2107275" cy="5232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8125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Block_Title Slide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47" y="3692"/>
            <a:ext cx="9151264" cy="68543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2089864" y="3588760"/>
            <a:ext cx="6754213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9"/>
          <p:cNvSpPr>
            <a:spLocks noGrp="1"/>
          </p:cNvSpPr>
          <p:nvPr>
            <p:ph type="body" sz="quarter" idx="18" hasCustomPrompt="1"/>
          </p:nvPr>
        </p:nvSpPr>
        <p:spPr>
          <a:xfrm>
            <a:off x="2089865" y="3692359"/>
            <a:ext cx="6754212" cy="3434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600" cap="all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en-US" sz="1600" dirty="0"/>
              <a:t>Click to edit SUB TITLE</a:t>
            </a:r>
          </a:p>
        </p:txBody>
      </p:sp>
      <p:sp>
        <p:nvSpPr>
          <p:cNvPr id="13" name="Text Placeholder 23"/>
          <p:cNvSpPr>
            <a:spLocks noGrp="1"/>
          </p:cNvSpPr>
          <p:nvPr>
            <p:ph type="body" sz="quarter" idx="19"/>
          </p:nvPr>
        </p:nvSpPr>
        <p:spPr>
          <a:xfrm>
            <a:off x="2089865" y="3059448"/>
            <a:ext cx="6754212" cy="452437"/>
          </a:xfrm>
          <a:prstGeom prst="rect">
            <a:avLst/>
          </a:prstGeom>
        </p:spPr>
        <p:txBody>
          <a:bodyPr vert="horz" lIns="0" rIns="0" bIns="0" anchor="b"/>
          <a:lstStyle>
            <a:lvl1pPr marL="0" indent="0">
              <a:buFontTx/>
              <a:buNone/>
              <a:defRPr sz="2500" cap="all" baseline="0">
                <a:solidFill>
                  <a:schemeClr val="bg1"/>
                </a:solidFill>
                <a:latin typeface="+mj-lt"/>
              </a:defRPr>
            </a:lvl1pPr>
            <a:lvl2pPr marL="457178" indent="0">
              <a:buFontTx/>
              <a:buNone/>
              <a:defRPr sz="2400" cap="all" baseline="0">
                <a:solidFill>
                  <a:schemeClr val="bg1"/>
                </a:solidFill>
              </a:defRPr>
            </a:lvl2pPr>
            <a:lvl3pPr marL="914354" indent="0">
              <a:buFontTx/>
              <a:buNone/>
              <a:defRPr sz="2400" cap="all" baseline="0">
                <a:solidFill>
                  <a:schemeClr val="bg1"/>
                </a:solidFill>
              </a:defRPr>
            </a:lvl3pPr>
            <a:lvl4pPr marL="1371532" indent="0">
              <a:buFontTx/>
              <a:buNone/>
              <a:defRPr sz="2400" cap="all" baseline="0">
                <a:solidFill>
                  <a:schemeClr val="bg1"/>
                </a:solidFill>
              </a:defRPr>
            </a:lvl4pPr>
            <a:lvl5pPr marL="1828709" indent="0">
              <a:buFontTx/>
              <a:buNone/>
              <a:defRPr sz="2400" cap="all" baseline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Freeform 14"/>
          <p:cNvSpPr/>
          <p:nvPr userDrawn="1"/>
        </p:nvSpPr>
        <p:spPr>
          <a:xfrm>
            <a:off x="-6447" y="-3908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5600" y="6042893"/>
            <a:ext cx="2358390" cy="654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6603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jpeg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png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6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vmlDrawing" Target="../drawings/vmlDrawing2.vml"/><Relationship Id="rId5" Type="http://schemas.openxmlformats.org/officeDocument/2006/relationships/theme" Target="../theme/theme2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7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3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6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4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651DDA-D15E-42F8-AD50-ED444CDA24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239030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EA4A102-660E-4AAB-8050-889CEA52B25A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26" name="Picture 3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1800" y="177800"/>
            <a:ext cx="1892300" cy="84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144780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209800"/>
            <a:ext cx="7772400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44C75A27-8504-4BBF-85D0-63F4E2BF60B1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032" name="Rectangle 10"/>
          <p:cNvSpPr>
            <a:spLocks noChangeArrowheads="1"/>
          </p:cNvSpPr>
          <p:nvPr/>
        </p:nvSpPr>
        <p:spPr bwMode="auto">
          <a:xfrm>
            <a:off x="0" y="1066800"/>
            <a:ext cx="9144000" cy="152400"/>
          </a:xfrm>
          <a:prstGeom prst="rect">
            <a:avLst/>
          </a:prstGeom>
          <a:solidFill>
            <a:srgbClr val="C2113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1033" name="Rectangle 11"/>
          <p:cNvSpPr>
            <a:spLocks noChangeArrowheads="1"/>
          </p:cNvSpPr>
          <p:nvPr/>
        </p:nvSpPr>
        <p:spPr bwMode="auto">
          <a:xfrm>
            <a:off x="0" y="1219200"/>
            <a:ext cx="152400" cy="5638800"/>
          </a:xfrm>
          <a:prstGeom prst="rect">
            <a:avLst/>
          </a:prstGeom>
          <a:solidFill>
            <a:srgbClr val="002A6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Times" panose="02020603050405020304" pitchFamily="18" charset="0"/>
              </a:defRPr>
            </a:lvl9pPr>
          </a:lstStyle>
          <a:p>
            <a:pPr algn="ctr">
              <a:defRPr/>
            </a:pPr>
            <a:endParaRPr lang="en-US" altLang="en-US" dirty="0">
              <a:solidFill>
                <a:srgbClr val="002A6C"/>
              </a:solidFill>
            </a:endParaRPr>
          </a:p>
        </p:txBody>
      </p:sp>
      <p:pic>
        <p:nvPicPr>
          <p:cNvPr id="1034" name="Picture 10" descr="NARUC_logo-Blue_Gold-text.jp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2100" y="166688"/>
            <a:ext cx="1928813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5" name="Picture 12" descr="P:\International Dept\Admin\Admin\Logos\USAID\Web, Digital, Video and Office Printers\USAIDLogo_2ColorRGB\Horizontal_RGB_294.pn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28600" y="-98425"/>
            <a:ext cx="3581400" cy="139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27" r:id="rId2"/>
    <p:sldLayoutId id="2147483933" r:id="rId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BB34ED8-724E-468E-9C27-50EC9E1CD7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22813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3D6F37A-7A69-4F2F-95CA-4478BDC3E8C3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Times"/>
              </a:defRPr>
            </a:lvl1pPr>
          </a:lstStyle>
          <a:p>
            <a:pPr>
              <a:defRPr/>
            </a:pPr>
            <a:fld id="{41DA912D-E3CC-4C01-B044-D87B10D7F960}" type="datetimeFigureOut">
              <a:rPr lang="en-US"/>
              <a:pPr>
                <a:defRPr/>
              </a:pPr>
              <a:t>7/3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Time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B20643D7-D7AC-4437-8A48-87460F323AA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896541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079560" y="1262358"/>
            <a:ext cx="6856622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079560" y="1022438"/>
            <a:ext cx="70644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0" y="1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505152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36" r:id="rId2"/>
    <p:sldLayoutId id="2147483938" r:id="rId3"/>
    <p:sldLayoutId id="2147483939" r:id="rId4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675344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Placeholder 18"/>
          <p:cNvSpPr txBox="1">
            <a:spLocks/>
          </p:cNvSpPr>
          <p:nvPr userDrawn="1"/>
        </p:nvSpPr>
        <p:spPr>
          <a:xfrm>
            <a:off x="309511" y="6370116"/>
            <a:ext cx="5827876" cy="205345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/ </a:t>
            </a:r>
            <a:r>
              <a:rPr lang="en-US" sz="900" kern="1200" cap="all" normalizeH="0" baseline="0" dirty="0">
                <a:solidFill>
                  <a:schemeClr val="accent1">
                    <a:lumMod val="60000"/>
                    <a:lumOff val="40000"/>
                  </a:schemeClr>
                </a:solidFill>
                <a:latin typeface="+mj-lt"/>
                <a:ea typeface="+mn-ea"/>
                <a:cs typeface="+mn-cs"/>
              </a:rPr>
              <a:t>©2016 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Navigant--A 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uidehouse</a:t>
            </a:r>
            <a:r>
              <a:rPr lang="en-US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Company Consulting,</a:t>
            </a:r>
            <a:r>
              <a:rPr lang="en-US" baseline="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Inc. All rights Reserved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228601" y="6250077"/>
            <a:ext cx="8694739" cy="0"/>
          </a:xfrm>
          <a:prstGeom prst="line">
            <a:avLst/>
          </a:prstGeom>
          <a:ln w="9525">
            <a:solidFill>
              <a:srgbClr val="55575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18"/>
          <p:cNvSpPr txBox="1">
            <a:spLocks/>
          </p:cNvSpPr>
          <p:nvPr userDrawn="1"/>
        </p:nvSpPr>
        <p:spPr>
          <a:xfrm>
            <a:off x="136515" y="6365441"/>
            <a:ext cx="358736" cy="231169"/>
          </a:xfrm>
          <a:prstGeom prst="rect">
            <a:avLst/>
          </a:prstGeom>
        </p:spPr>
        <p:txBody>
          <a:bodyPr vert="horz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l"/>
            <a:fld id="{C0D4A90D-707C-4CFA-8F87-17CF45DE2B45}" type="slidenum">
              <a:rPr lang="en-US" sz="900" smtClean="0">
                <a:solidFill>
                  <a:srgbClr val="95D600"/>
                </a:solidFill>
              </a:rPr>
              <a:pPr algn="l"/>
              <a:t>‹#›</a:t>
            </a:fld>
            <a:endParaRPr lang="en-US" dirty="0"/>
          </a:p>
        </p:txBody>
      </p:sp>
      <p:sp>
        <p:nvSpPr>
          <p:cNvPr id="1037" name="Rectangle 14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2079560" y="1262358"/>
            <a:ext cx="6856622" cy="49066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 bwMode="auto">
          <a:xfrm flipH="1">
            <a:off x="0" y="6302465"/>
            <a:ext cx="9144000" cy="0"/>
          </a:xfrm>
          <a:prstGeom prst="line">
            <a:avLst/>
          </a:prstGeom>
          <a:solidFill>
            <a:schemeClr val="accent1"/>
          </a:solidFill>
          <a:ln w="19050" cap="flat" cmpd="dbl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5459" y="6400190"/>
            <a:ext cx="977407" cy="168518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 bwMode="auto">
          <a:xfrm>
            <a:off x="2079560" y="1022438"/>
            <a:ext cx="706444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Freeform 10"/>
          <p:cNvSpPr/>
          <p:nvPr userDrawn="1"/>
        </p:nvSpPr>
        <p:spPr>
          <a:xfrm>
            <a:off x="0" y="1"/>
            <a:ext cx="2086007" cy="5136220"/>
          </a:xfrm>
          <a:custGeom>
            <a:avLst/>
            <a:gdLst>
              <a:gd name="connsiteX0" fmla="*/ 0 w 1661746"/>
              <a:gd name="connsiteY0" fmla="*/ 0 h 4044462"/>
              <a:gd name="connsiteX1" fmla="*/ 1661746 w 1661746"/>
              <a:gd name="connsiteY1" fmla="*/ 0 h 4044462"/>
              <a:gd name="connsiteX2" fmla="*/ 17585 w 1661746"/>
              <a:gd name="connsiteY2" fmla="*/ 4044462 h 4044462"/>
              <a:gd name="connsiteX3" fmla="*/ 0 w 1661746"/>
              <a:gd name="connsiteY3" fmla="*/ 0 h 4044462"/>
              <a:gd name="connsiteX0" fmla="*/ 0 w 1661746"/>
              <a:gd name="connsiteY0" fmla="*/ 0 h 4039867"/>
              <a:gd name="connsiteX1" fmla="*/ 1661746 w 1661746"/>
              <a:gd name="connsiteY1" fmla="*/ 0 h 4039867"/>
              <a:gd name="connsiteX2" fmla="*/ 12990 w 1661746"/>
              <a:gd name="connsiteY2" fmla="*/ 4039867 h 4039867"/>
              <a:gd name="connsiteX3" fmla="*/ 0 w 1661746"/>
              <a:gd name="connsiteY3" fmla="*/ 0 h 4039867"/>
              <a:gd name="connsiteX0" fmla="*/ 170948 w 1648895"/>
              <a:gd name="connsiteY0" fmla="*/ 284889 h 4039867"/>
              <a:gd name="connsiteX1" fmla="*/ 1648895 w 1648895"/>
              <a:gd name="connsiteY1" fmla="*/ 0 h 4039867"/>
              <a:gd name="connsiteX2" fmla="*/ 139 w 1648895"/>
              <a:gd name="connsiteY2" fmla="*/ 4039867 h 4039867"/>
              <a:gd name="connsiteX3" fmla="*/ 170948 w 1648895"/>
              <a:gd name="connsiteY3" fmla="*/ 284889 h 4039867"/>
              <a:gd name="connsiteX0" fmla="*/ 170948 w 1653490"/>
              <a:gd name="connsiteY0" fmla="*/ 225154 h 3980132"/>
              <a:gd name="connsiteX1" fmla="*/ 1653490 w 1653490"/>
              <a:gd name="connsiteY1" fmla="*/ 0 h 3980132"/>
              <a:gd name="connsiteX2" fmla="*/ 139 w 1653490"/>
              <a:gd name="connsiteY2" fmla="*/ 3980132 h 3980132"/>
              <a:gd name="connsiteX3" fmla="*/ 170948 w 1653490"/>
              <a:gd name="connsiteY3" fmla="*/ 225154 h 3980132"/>
              <a:gd name="connsiteX0" fmla="*/ 170948 w 1658085"/>
              <a:gd name="connsiteY0" fmla="*/ 284889 h 4039867"/>
              <a:gd name="connsiteX1" fmla="*/ 1658085 w 1658085"/>
              <a:gd name="connsiteY1" fmla="*/ 0 h 4039867"/>
              <a:gd name="connsiteX2" fmla="*/ 139 w 1658085"/>
              <a:gd name="connsiteY2" fmla="*/ 4039867 h 4039867"/>
              <a:gd name="connsiteX3" fmla="*/ 170948 w 1658085"/>
              <a:gd name="connsiteY3" fmla="*/ 284889 h 4039867"/>
              <a:gd name="connsiteX0" fmla="*/ 0 w 1666341"/>
              <a:gd name="connsiteY0" fmla="*/ 4595 h 4039867"/>
              <a:gd name="connsiteX1" fmla="*/ 1666341 w 1666341"/>
              <a:gd name="connsiteY1" fmla="*/ 0 h 4039867"/>
              <a:gd name="connsiteX2" fmla="*/ 8395 w 1666341"/>
              <a:gd name="connsiteY2" fmla="*/ 4039867 h 4039867"/>
              <a:gd name="connsiteX3" fmla="*/ 0 w 1666341"/>
              <a:gd name="connsiteY3" fmla="*/ 4595 h 4039867"/>
              <a:gd name="connsiteX0" fmla="*/ 0 w 1666341"/>
              <a:gd name="connsiteY0" fmla="*/ 4595 h 4035272"/>
              <a:gd name="connsiteX1" fmla="*/ 1666341 w 1666341"/>
              <a:gd name="connsiteY1" fmla="*/ 0 h 4035272"/>
              <a:gd name="connsiteX2" fmla="*/ 8395 w 1666341"/>
              <a:gd name="connsiteY2" fmla="*/ 4035272 h 4035272"/>
              <a:gd name="connsiteX3" fmla="*/ 0 w 1666341"/>
              <a:gd name="connsiteY3" fmla="*/ 4595 h 4035272"/>
              <a:gd name="connsiteX0" fmla="*/ 56296 w 1658307"/>
              <a:gd name="connsiteY0" fmla="*/ 114874 h 4035272"/>
              <a:gd name="connsiteX1" fmla="*/ 1658307 w 1658307"/>
              <a:gd name="connsiteY1" fmla="*/ 0 h 4035272"/>
              <a:gd name="connsiteX2" fmla="*/ 361 w 1658307"/>
              <a:gd name="connsiteY2" fmla="*/ 4035272 h 4035272"/>
              <a:gd name="connsiteX3" fmla="*/ 56296 w 1658307"/>
              <a:gd name="connsiteY3" fmla="*/ 114874 h 4035272"/>
              <a:gd name="connsiteX0" fmla="*/ 2400 w 1659551"/>
              <a:gd name="connsiteY0" fmla="*/ 9190 h 4035272"/>
              <a:gd name="connsiteX1" fmla="*/ 1659551 w 1659551"/>
              <a:gd name="connsiteY1" fmla="*/ 0 h 4035272"/>
              <a:gd name="connsiteX2" fmla="*/ 1605 w 1659551"/>
              <a:gd name="connsiteY2" fmla="*/ 4035272 h 4035272"/>
              <a:gd name="connsiteX3" fmla="*/ 2400 w 1659551"/>
              <a:gd name="connsiteY3" fmla="*/ 9190 h 4035272"/>
              <a:gd name="connsiteX0" fmla="*/ 146 w 1659873"/>
              <a:gd name="connsiteY0" fmla="*/ 6614 h 4035272"/>
              <a:gd name="connsiteX1" fmla="*/ 1659873 w 1659873"/>
              <a:gd name="connsiteY1" fmla="*/ 0 h 4035272"/>
              <a:gd name="connsiteX2" fmla="*/ 1927 w 1659873"/>
              <a:gd name="connsiteY2" fmla="*/ 4035272 h 4035272"/>
              <a:gd name="connsiteX3" fmla="*/ 146 w 1659873"/>
              <a:gd name="connsiteY3" fmla="*/ 6614 h 4035272"/>
              <a:gd name="connsiteX0" fmla="*/ 146 w 1649570"/>
              <a:gd name="connsiteY0" fmla="*/ 0 h 4028658"/>
              <a:gd name="connsiteX1" fmla="*/ 1649570 w 1649570"/>
              <a:gd name="connsiteY1" fmla="*/ 11416 h 4028658"/>
              <a:gd name="connsiteX2" fmla="*/ 1927 w 1649570"/>
              <a:gd name="connsiteY2" fmla="*/ 4028658 h 4028658"/>
              <a:gd name="connsiteX3" fmla="*/ 146 w 1649570"/>
              <a:gd name="connsiteY3" fmla="*/ 0 h 4028658"/>
              <a:gd name="connsiteX0" fmla="*/ 57814 w 1647996"/>
              <a:gd name="connsiteY0" fmla="*/ 109645 h 4017242"/>
              <a:gd name="connsiteX1" fmla="*/ 1647996 w 1647996"/>
              <a:gd name="connsiteY1" fmla="*/ 0 h 4017242"/>
              <a:gd name="connsiteX2" fmla="*/ 353 w 1647996"/>
              <a:gd name="connsiteY2" fmla="*/ 4017242 h 4017242"/>
              <a:gd name="connsiteX3" fmla="*/ 57814 w 1647996"/>
              <a:gd name="connsiteY3" fmla="*/ 109645 h 4017242"/>
              <a:gd name="connsiteX0" fmla="*/ 52689 w 1648022"/>
              <a:gd name="connsiteY0" fmla="*/ 65857 h 4017242"/>
              <a:gd name="connsiteX1" fmla="*/ 1648022 w 1648022"/>
              <a:gd name="connsiteY1" fmla="*/ 0 h 4017242"/>
              <a:gd name="connsiteX2" fmla="*/ 379 w 1648022"/>
              <a:gd name="connsiteY2" fmla="*/ 4017242 h 4017242"/>
              <a:gd name="connsiteX3" fmla="*/ 52689 w 1648022"/>
              <a:gd name="connsiteY3" fmla="*/ 65857 h 4017242"/>
              <a:gd name="connsiteX0" fmla="*/ 9598 w 1648720"/>
              <a:gd name="connsiteY0" fmla="*/ 0 h 4020931"/>
              <a:gd name="connsiteX1" fmla="*/ 1648720 w 1648720"/>
              <a:gd name="connsiteY1" fmla="*/ 3689 h 4020931"/>
              <a:gd name="connsiteX2" fmla="*/ 1077 w 1648720"/>
              <a:gd name="connsiteY2" fmla="*/ 4020931 h 4020931"/>
              <a:gd name="connsiteX3" fmla="*/ 9598 w 1648720"/>
              <a:gd name="connsiteY3" fmla="*/ 0 h 4020931"/>
              <a:gd name="connsiteX0" fmla="*/ 12067 w 1651189"/>
              <a:gd name="connsiteY0" fmla="*/ 0 h 4023507"/>
              <a:gd name="connsiteX1" fmla="*/ 1651189 w 1651189"/>
              <a:gd name="connsiteY1" fmla="*/ 3689 h 4023507"/>
              <a:gd name="connsiteX2" fmla="*/ 971 w 1651189"/>
              <a:gd name="connsiteY2" fmla="*/ 4023507 h 4023507"/>
              <a:gd name="connsiteX3" fmla="*/ 12067 w 1651189"/>
              <a:gd name="connsiteY3" fmla="*/ 0 h 4023507"/>
              <a:gd name="connsiteX0" fmla="*/ 0 w 1639122"/>
              <a:gd name="connsiteY0" fmla="*/ 0 h 4023507"/>
              <a:gd name="connsiteX1" fmla="*/ 1639122 w 1639122"/>
              <a:gd name="connsiteY1" fmla="*/ 3689 h 4023507"/>
              <a:gd name="connsiteX2" fmla="*/ 6935 w 1639122"/>
              <a:gd name="connsiteY2" fmla="*/ 4023507 h 4023507"/>
              <a:gd name="connsiteX3" fmla="*/ 0 w 1639122"/>
              <a:gd name="connsiteY3" fmla="*/ 0 h 4023507"/>
              <a:gd name="connsiteX0" fmla="*/ 17059 w 1656181"/>
              <a:gd name="connsiteY0" fmla="*/ 0 h 4015780"/>
              <a:gd name="connsiteX1" fmla="*/ 1656181 w 1656181"/>
              <a:gd name="connsiteY1" fmla="*/ 3689 h 4015780"/>
              <a:gd name="connsiteX2" fmla="*/ 812 w 1656181"/>
              <a:gd name="connsiteY2" fmla="*/ 4015780 h 4015780"/>
              <a:gd name="connsiteX3" fmla="*/ 17059 w 1656181"/>
              <a:gd name="connsiteY3" fmla="*/ 0 h 4015780"/>
              <a:gd name="connsiteX0" fmla="*/ 0 w 1639122"/>
              <a:gd name="connsiteY0" fmla="*/ 0 h 3899870"/>
              <a:gd name="connsiteX1" fmla="*/ 1639122 w 1639122"/>
              <a:gd name="connsiteY1" fmla="*/ 3689 h 3899870"/>
              <a:gd name="connsiteX2" fmla="*/ 73905 w 1639122"/>
              <a:gd name="connsiteY2" fmla="*/ 3899870 h 3899870"/>
              <a:gd name="connsiteX3" fmla="*/ 0 w 1639122"/>
              <a:gd name="connsiteY3" fmla="*/ 0 h 3899870"/>
              <a:gd name="connsiteX0" fmla="*/ 0 w 1639122"/>
              <a:gd name="connsiteY0" fmla="*/ 0 h 3987447"/>
              <a:gd name="connsiteX1" fmla="*/ 1639122 w 1639122"/>
              <a:gd name="connsiteY1" fmla="*/ 3689 h 3987447"/>
              <a:gd name="connsiteX2" fmla="*/ 6935 w 1639122"/>
              <a:gd name="connsiteY2" fmla="*/ 3987447 h 3987447"/>
              <a:gd name="connsiteX3" fmla="*/ 0 w 1639122"/>
              <a:gd name="connsiteY3" fmla="*/ 0 h 3987447"/>
              <a:gd name="connsiteX0" fmla="*/ 144 w 1639266"/>
              <a:gd name="connsiteY0" fmla="*/ 0 h 3987447"/>
              <a:gd name="connsiteX1" fmla="*/ 1639266 w 1639266"/>
              <a:gd name="connsiteY1" fmla="*/ 3689 h 3987447"/>
              <a:gd name="connsiteX2" fmla="*/ 1927 w 1639266"/>
              <a:gd name="connsiteY2" fmla="*/ 3987447 h 3987447"/>
              <a:gd name="connsiteX3" fmla="*/ 144 w 1639266"/>
              <a:gd name="connsiteY3" fmla="*/ 0 h 3987447"/>
              <a:gd name="connsiteX0" fmla="*/ 2397 w 1641519"/>
              <a:gd name="connsiteY0" fmla="*/ 0 h 3995174"/>
              <a:gd name="connsiteX1" fmla="*/ 1641519 w 1641519"/>
              <a:gd name="connsiteY1" fmla="*/ 3689 h 3995174"/>
              <a:gd name="connsiteX2" fmla="*/ 1605 w 1641519"/>
              <a:gd name="connsiteY2" fmla="*/ 3995174 h 3995174"/>
              <a:gd name="connsiteX3" fmla="*/ 2397 w 1641519"/>
              <a:gd name="connsiteY3" fmla="*/ 0 h 3995174"/>
              <a:gd name="connsiteX0" fmla="*/ 9681 w 1648803"/>
              <a:gd name="connsiteY0" fmla="*/ 0 h 5116681"/>
              <a:gd name="connsiteX1" fmla="*/ 1648803 w 1648803"/>
              <a:gd name="connsiteY1" fmla="*/ 3689 h 5116681"/>
              <a:gd name="connsiteX2" fmla="*/ 1073 w 1648803"/>
              <a:gd name="connsiteY2" fmla="*/ 5116681 h 5116681"/>
              <a:gd name="connsiteX3" fmla="*/ 9681 w 1648803"/>
              <a:gd name="connsiteY3" fmla="*/ 0 h 5116681"/>
              <a:gd name="connsiteX0" fmla="*/ 9681 w 2078650"/>
              <a:gd name="connsiteY0" fmla="*/ 0 h 5116681"/>
              <a:gd name="connsiteX1" fmla="*/ 2078650 w 2078650"/>
              <a:gd name="connsiteY1" fmla="*/ 3689 h 5116681"/>
              <a:gd name="connsiteX2" fmla="*/ 1073 w 2078650"/>
              <a:gd name="connsiteY2" fmla="*/ 5116681 h 5116681"/>
              <a:gd name="connsiteX3" fmla="*/ 9681 w 2078650"/>
              <a:gd name="connsiteY3" fmla="*/ 0 h 5116681"/>
              <a:gd name="connsiteX0" fmla="*/ 5986 w 2078862"/>
              <a:gd name="connsiteY0" fmla="*/ 0 h 5120589"/>
              <a:gd name="connsiteX1" fmla="*/ 2078862 w 2078862"/>
              <a:gd name="connsiteY1" fmla="*/ 7597 h 5120589"/>
              <a:gd name="connsiteX2" fmla="*/ 1285 w 2078862"/>
              <a:gd name="connsiteY2" fmla="*/ 5120589 h 5120589"/>
              <a:gd name="connsiteX3" fmla="*/ 5986 w 2078862"/>
              <a:gd name="connsiteY3" fmla="*/ 0 h 5120589"/>
              <a:gd name="connsiteX0" fmla="*/ 2400 w 2075276"/>
              <a:gd name="connsiteY0" fmla="*/ 0 h 5108866"/>
              <a:gd name="connsiteX1" fmla="*/ 2075276 w 2075276"/>
              <a:gd name="connsiteY1" fmla="*/ 7597 h 5108866"/>
              <a:gd name="connsiteX2" fmla="*/ 1606 w 2075276"/>
              <a:gd name="connsiteY2" fmla="*/ 5108866 h 5108866"/>
              <a:gd name="connsiteX3" fmla="*/ 2400 w 2075276"/>
              <a:gd name="connsiteY3" fmla="*/ 0 h 5108866"/>
              <a:gd name="connsiteX0" fmla="*/ 5987 w 2078863"/>
              <a:gd name="connsiteY0" fmla="*/ 0 h 5136220"/>
              <a:gd name="connsiteX1" fmla="*/ 2078863 w 2078863"/>
              <a:gd name="connsiteY1" fmla="*/ 7597 h 5136220"/>
              <a:gd name="connsiteX2" fmla="*/ 1285 w 2078863"/>
              <a:gd name="connsiteY2" fmla="*/ 5136220 h 5136220"/>
              <a:gd name="connsiteX3" fmla="*/ 5987 w 2078863"/>
              <a:gd name="connsiteY3" fmla="*/ 0 h 5136220"/>
              <a:gd name="connsiteX0" fmla="*/ 5987 w 2086007"/>
              <a:gd name="connsiteY0" fmla="*/ 0 h 5136220"/>
              <a:gd name="connsiteX1" fmla="*/ 2086007 w 2086007"/>
              <a:gd name="connsiteY1" fmla="*/ 2835 h 5136220"/>
              <a:gd name="connsiteX2" fmla="*/ 1285 w 2086007"/>
              <a:gd name="connsiteY2" fmla="*/ 5136220 h 5136220"/>
              <a:gd name="connsiteX3" fmla="*/ 5987 w 2086007"/>
              <a:gd name="connsiteY3" fmla="*/ 0 h 51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6007" h="5136220">
                <a:moveTo>
                  <a:pt x="5987" y="0"/>
                </a:moveTo>
                <a:lnTo>
                  <a:pt x="2086007" y="2835"/>
                </a:lnTo>
                <a:cubicBezTo>
                  <a:pt x="1539369" y="1333330"/>
                  <a:pt x="547923" y="3805725"/>
                  <a:pt x="1285" y="5136220"/>
                </a:cubicBezTo>
                <a:cubicBezTo>
                  <a:pt x="-4577" y="3790997"/>
                  <a:pt x="11849" y="1354016"/>
                  <a:pt x="5987" y="0"/>
                </a:cubicBezTo>
                <a:close/>
              </a:path>
            </a:pathLst>
          </a:custGeom>
          <a:gradFill>
            <a:gsLst>
              <a:gs pos="0">
                <a:srgbClr val="648C1A"/>
              </a:gs>
              <a:gs pos="100000">
                <a:schemeClr val="accent2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829275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4" r:id="rId3"/>
    <p:sldLayoutId id="2147483945" r:id="rId4"/>
  </p:sldLayoutIdLst>
  <p:hf sldNum="0" hdr="0" dt="0"/>
  <p:txStyles>
    <p:titleStyle>
      <a:lvl1pPr marL="0" indent="0" algn="l" rtl="0" eaLnBrk="1" fontAlgn="base" hangingPunct="1">
        <a:spcBef>
          <a:spcPct val="0"/>
        </a:spcBef>
        <a:spcAft>
          <a:spcPct val="0"/>
        </a:spcAft>
        <a:defRPr lang="en-US" sz="2200" b="0" kern="1200" cap="all" baseline="0" dirty="0">
          <a:solidFill>
            <a:schemeClr val="accent1"/>
          </a:solidFill>
          <a:effectLst/>
          <a:latin typeface="+mn-lt"/>
          <a:ea typeface="+mj-ea"/>
          <a:cs typeface="+mj-cs"/>
        </a:defRPr>
      </a:lvl1pPr>
      <a:lvl2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2pPr>
      <a:lvl3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3pPr>
      <a:lvl4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4pPr>
      <a:lvl5pPr marL="455613" indent="-455613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bg1"/>
          </a:solidFill>
          <a:latin typeface="Arial Narrow" pitchFamily="34" charset="0"/>
        </a:defRPr>
      </a:lvl5pPr>
      <a:lvl6pPr marL="10350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6pPr>
      <a:lvl7pPr marL="14922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7pPr>
      <a:lvl8pPr marL="19494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8pPr>
      <a:lvl9pPr marL="240665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Palatino Linotype" pitchFamily="18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800" kern="1200" dirty="0">
          <a:solidFill>
            <a:schemeClr val="accent1"/>
          </a:solidFill>
          <a:latin typeface="+mj-lt"/>
          <a:ea typeface="+mn-ea"/>
          <a:cs typeface="+mn-cs"/>
        </a:defRPr>
      </a:lvl1pPr>
      <a:lvl2pPr marL="460375" indent="-22383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-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2pPr>
      <a:lvl3pPr marL="1027113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3pPr>
      <a:lvl4pPr marL="1373188" indent="-344488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◦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4pPr>
      <a:lvl5pPr marL="1717675" indent="-3429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SzPct val="100000"/>
        <a:buFont typeface="Palatino Linotype" pitchFamily="18" charset="0"/>
        <a:buChar char="▫"/>
        <a:defRPr lang="en-US" sz="1600" kern="1200" dirty="0">
          <a:solidFill>
            <a:schemeClr val="accent1"/>
          </a:solidFill>
          <a:latin typeface="+mj-lt"/>
          <a:ea typeface="+mn-ea"/>
          <a:cs typeface="+mn-cs"/>
        </a:defRPr>
      </a:lvl5pPr>
      <a:lvl6pPr marL="21748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6pPr>
      <a:lvl7pPr marL="26320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7pPr>
      <a:lvl8pPr marL="30892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8pPr>
      <a:lvl9pPr marL="3546475" indent="-342900" algn="l" rtl="0" eaLnBrk="1" fontAlgn="base" hangingPunct="1">
        <a:spcBef>
          <a:spcPct val="20000"/>
        </a:spcBef>
        <a:spcAft>
          <a:spcPct val="0"/>
        </a:spcAft>
        <a:buSzPct val="125000"/>
        <a:buFont typeface="Palatino Linotype" pitchFamily="18" charset="0"/>
        <a:buChar char="▫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57200" y="2971800"/>
            <a:ext cx="8305800" cy="1524000"/>
          </a:xfrm>
        </p:spPr>
        <p:txBody>
          <a:bodyPr/>
          <a:lstStyle/>
          <a:p>
            <a:pPr eaLnBrk="1" hangingPunct="1"/>
            <a:r>
              <a:rPr lang="en-US" altLang="en-US" sz="3200" dirty="0"/>
              <a:t>Comparative Analysis of Competitive Procurement Mechanisms</a:t>
            </a:r>
          </a:p>
        </p:txBody>
      </p:sp>
      <p:sp>
        <p:nvSpPr>
          <p:cNvPr id="7171" name="Text Box 10"/>
          <p:cNvSpPr txBox="1">
            <a:spLocks noChangeArrowheads="1"/>
          </p:cNvSpPr>
          <p:nvPr/>
        </p:nvSpPr>
        <p:spPr bwMode="auto">
          <a:xfrm>
            <a:off x="4020398" y="5622925"/>
            <a:ext cx="1106393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600" dirty="0"/>
              <a:t>April 2019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1219200"/>
            <a:ext cx="8534400" cy="457200"/>
          </a:xfrm>
        </p:spPr>
        <p:txBody>
          <a:bodyPr/>
          <a:lstStyle/>
          <a:p>
            <a:pPr algn="ctr"/>
            <a:r>
              <a:rPr lang="en-US" dirty="0"/>
              <a:t>Site selection and preparation: benefits and challenges</a:t>
            </a:r>
          </a:p>
        </p:txBody>
      </p:sp>
      <p:grpSp>
        <p:nvGrpSpPr>
          <p:cNvPr id="3" name="Group 2" descr="Left: chart illustrating function of government site auctions, Right: chart illustrating function of bidder-site auction">
            <a:extLst>
              <a:ext uri="{FF2B5EF4-FFF2-40B4-BE49-F238E27FC236}">
                <a16:creationId xmlns:a16="http://schemas.microsoft.com/office/drawing/2014/main" id="{F76DAE04-94FF-4381-9675-6801E21D2BEF}"/>
              </a:ext>
            </a:extLst>
          </p:cNvPr>
          <p:cNvGrpSpPr/>
          <p:nvPr/>
        </p:nvGrpSpPr>
        <p:grpSpPr>
          <a:xfrm>
            <a:off x="848591" y="1629006"/>
            <a:ext cx="7566747" cy="2561994"/>
            <a:chOff x="457200" y="1828800"/>
            <a:chExt cx="8648705" cy="2895600"/>
          </a:xfrm>
        </p:grpSpPr>
        <p:sp>
          <p:nvSpPr>
            <p:cNvPr id="8" name="Content Placeholder 27">
              <a:extLst>
                <a:ext uri="{FF2B5EF4-FFF2-40B4-BE49-F238E27FC236}">
                  <a16:creationId xmlns:a16="http://schemas.microsoft.com/office/drawing/2014/main" id="{1D714345-2F45-430F-AD34-EFE952E1FA84}"/>
                </a:ext>
              </a:extLst>
            </p:cNvPr>
            <p:cNvSpPr txBox="1">
              <a:spLocks/>
            </p:cNvSpPr>
            <p:nvPr/>
          </p:nvSpPr>
          <p:spPr>
            <a:xfrm>
              <a:off x="457200" y="1828800"/>
              <a:ext cx="3878710" cy="348346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30188" indent="-230188" algn="l" defTabSz="4572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/>
                <a:buChar char="•"/>
                <a:defRPr sz="2000" b="0" i="0" kern="1200">
                  <a:solidFill>
                    <a:srgbClr val="635C5B"/>
                  </a:solidFill>
                  <a:latin typeface="Gill Sans MT"/>
                  <a:ea typeface="+mn-ea"/>
                  <a:cs typeface="Gill Sans MT"/>
                </a:defRPr>
              </a:lvl1pPr>
              <a:lvl2pPr marL="684213" indent="-230188" algn="l" defTabSz="4572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/>
                <a:buChar char="–"/>
                <a:defRPr sz="2000" b="0" i="0" kern="1200">
                  <a:solidFill>
                    <a:srgbClr val="635C5B"/>
                  </a:solidFill>
                  <a:latin typeface="Gill Sans MT"/>
                  <a:ea typeface="+mn-ea"/>
                  <a:cs typeface="Gill Sans MT"/>
                </a:defRPr>
              </a:lvl2pPr>
              <a:lvl3pPr marL="914400" indent="-230188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3pPr>
              <a:lvl4pPr marL="1146175" indent="-231775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4pPr>
              <a:lvl5pPr marL="1255713" indent="-230188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4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+mn-lt"/>
                  <a:ea typeface="+mn-ea"/>
                </a:rPr>
                <a:t>Government-site auction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</a:endParaRPr>
            </a:p>
          </p:txBody>
        </p:sp>
        <p:sp>
          <p:nvSpPr>
            <p:cNvPr id="9" name="Content Placeholder 27">
              <a:extLst>
                <a:ext uri="{FF2B5EF4-FFF2-40B4-BE49-F238E27FC236}">
                  <a16:creationId xmlns:a16="http://schemas.microsoft.com/office/drawing/2014/main" id="{2656D9BB-43B9-4C3F-ADD3-6AED6F1864B7}"/>
                </a:ext>
              </a:extLst>
            </p:cNvPr>
            <p:cNvSpPr txBox="1">
              <a:spLocks/>
            </p:cNvSpPr>
            <p:nvPr/>
          </p:nvSpPr>
          <p:spPr>
            <a:xfrm>
              <a:off x="4808398" y="1833606"/>
              <a:ext cx="3878710" cy="507832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230188" indent="-230188" algn="l" defTabSz="4572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/>
                <a:buChar char="•"/>
                <a:defRPr sz="2000" b="0" i="0" kern="1200">
                  <a:solidFill>
                    <a:srgbClr val="635C5B"/>
                  </a:solidFill>
                  <a:latin typeface="Gill Sans MT"/>
                  <a:ea typeface="+mn-ea"/>
                  <a:cs typeface="Gill Sans MT"/>
                </a:defRPr>
              </a:lvl1pPr>
              <a:lvl2pPr marL="684213" indent="-230188" algn="l" defTabSz="457200" rtl="0" eaLnBrk="1" latinLnBrk="0" hangingPunct="1">
                <a:spcBef>
                  <a:spcPts val="0"/>
                </a:spcBef>
                <a:spcAft>
                  <a:spcPts val="1200"/>
                </a:spcAft>
                <a:buFont typeface="Arial"/>
                <a:buChar char="–"/>
                <a:defRPr sz="2000" b="0" i="0" kern="1200">
                  <a:solidFill>
                    <a:srgbClr val="635C5B"/>
                  </a:solidFill>
                  <a:latin typeface="Gill Sans MT"/>
                  <a:ea typeface="+mn-ea"/>
                  <a:cs typeface="Gill Sans MT"/>
                </a:defRPr>
              </a:lvl2pPr>
              <a:lvl3pPr marL="914400" indent="-230188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8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3pPr>
              <a:lvl4pPr marL="1146175" indent="-231775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6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4pPr>
              <a:lvl5pPr marL="1255713" indent="-230188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400" b="0" i="0" kern="1200">
                  <a:solidFill>
                    <a:srgbClr val="6C6463"/>
                  </a:solidFill>
                  <a:latin typeface="Gill Sans MT"/>
                  <a:ea typeface="+mn-ea"/>
                  <a:cs typeface="Gill Sans MT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n-lt"/>
                  <a:ea typeface="+mn-ea"/>
                </a:rPr>
                <a:t>Bidder-site auction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</a:endParaRPr>
            </a:p>
          </p:txBody>
        </p:sp>
        <p:sp>
          <p:nvSpPr>
            <p:cNvPr id="10" name="Abgerundetes Rechteck 5">
              <a:extLst>
                <a:ext uri="{FF2B5EF4-FFF2-40B4-BE49-F238E27FC236}">
                  <a16:creationId xmlns:a16="http://schemas.microsoft.com/office/drawing/2014/main" id="{766D64FF-4623-40E1-8144-25592C515242}"/>
                </a:ext>
              </a:extLst>
            </p:cNvPr>
            <p:cNvSpPr/>
            <p:nvPr/>
          </p:nvSpPr>
          <p:spPr bwMode="auto">
            <a:xfrm>
              <a:off x="457200" y="2773477"/>
              <a:ext cx="2089493" cy="1950923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11" name="Abgerundetes Rechteck 7">
              <a:extLst>
                <a:ext uri="{FF2B5EF4-FFF2-40B4-BE49-F238E27FC236}">
                  <a16:creationId xmlns:a16="http://schemas.microsoft.com/office/drawing/2014/main" id="{4327D86F-E8C2-43AE-9E8E-CA86E1997792}"/>
                </a:ext>
              </a:extLst>
            </p:cNvPr>
            <p:cNvSpPr/>
            <p:nvPr/>
          </p:nvSpPr>
          <p:spPr bwMode="auto">
            <a:xfrm>
              <a:off x="579830" y="2915839"/>
              <a:ext cx="894777" cy="764443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12" name="Abgerundetes Rechteck 9">
              <a:extLst>
                <a:ext uri="{FF2B5EF4-FFF2-40B4-BE49-F238E27FC236}">
                  <a16:creationId xmlns:a16="http://schemas.microsoft.com/office/drawing/2014/main" id="{BDCEF667-89DE-4F75-B651-97FCC16F5415}"/>
                </a:ext>
              </a:extLst>
            </p:cNvPr>
            <p:cNvSpPr/>
            <p:nvPr/>
          </p:nvSpPr>
          <p:spPr bwMode="auto">
            <a:xfrm>
              <a:off x="565162" y="3774791"/>
              <a:ext cx="894777" cy="764443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13" name="Abgerundetes Rechteck 10">
              <a:extLst>
                <a:ext uri="{FF2B5EF4-FFF2-40B4-BE49-F238E27FC236}">
                  <a16:creationId xmlns:a16="http://schemas.microsoft.com/office/drawing/2014/main" id="{4FFEE90C-2378-4A70-8141-97C3FAC51EAF}"/>
                </a:ext>
              </a:extLst>
            </p:cNvPr>
            <p:cNvSpPr/>
            <p:nvPr/>
          </p:nvSpPr>
          <p:spPr bwMode="auto">
            <a:xfrm>
              <a:off x="1529724" y="3774792"/>
              <a:ext cx="894777" cy="764443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14" name="Textfeld 31">
              <a:extLst>
                <a:ext uri="{FF2B5EF4-FFF2-40B4-BE49-F238E27FC236}">
                  <a16:creationId xmlns:a16="http://schemas.microsoft.com/office/drawing/2014/main" id="{D221A96A-C873-4B35-93C1-99B9888B9277}"/>
                </a:ext>
              </a:extLst>
            </p:cNvPr>
            <p:cNvSpPr txBox="1"/>
            <p:nvPr/>
          </p:nvSpPr>
          <p:spPr>
            <a:xfrm>
              <a:off x="3200292" y="2822716"/>
              <a:ext cx="990707" cy="295675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+mn-lt"/>
                  <a:ea typeface="+mn-ea"/>
                  <a:cs typeface="Arial"/>
                </a:rPr>
                <a:t>Bidder 1</a:t>
              </a:r>
            </a:p>
          </p:txBody>
        </p:sp>
        <p:sp>
          <p:nvSpPr>
            <p:cNvPr id="15" name="Textfeld 32">
              <a:extLst>
                <a:ext uri="{FF2B5EF4-FFF2-40B4-BE49-F238E27FC236}">
                  <a16:creationId xmlns:a16="http://schemas.microsoft.com/office/drawing/2014/main" id="{5EA4FD7D-0419-4225-867C-C79028A22D37}"/>
                </a:ext>
              </a:extLst>
            </p:cNvPr>
            <p:cNvSpPr txBox="1"/>
            <p:nvPr/>
          </p:nvSpPr>
          <p:spPr>
            <a:xfrm>
              <a:off x="3200292" y="3342248"/>
              <a:ext cx="990707" cy="295675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+mn-lt"/>
                  <a:ea typeface="+mn-ea"/>
                  <a:cs typeface="Arial"/>
                </a:rPr>
                <a:t>Bidder 2</a:t>
              </a:r>
            </a:p>
          </p:txBody>
        </p:sp>
        <p:sp>
          <p:nvSpPr>
            <p:cNvPr id="16" name="Textfeld 33">
              <a:extLst>
                <a:ext uri="{FF2B5EF4-FFF2-40B4-BE49-F238E27FC236}">
                  <a16:creationId xmlns:a16="http://schemas.microsoft.com/office/drawing/2014/main" id="{164A1E8C-EEB9-4771-945B-A10D324C6BF7}"/>
                </a:ext>
              </a:extLst>
            </p:cNvPr>
            <p:cNvSpPr txBox="1"/>
            <p:nvPr/>
          </p:nvSpPr>
          <p:spPr>
            <a:xfrm>
              <a:off x="3200292" y="3882290"/>
              <a:ext cx="990707" cy="295675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+mn-lt"/>
                  <a:ea typeface="+mn-ea"/>
                  <a:cs typeface="Arial"/>
                </a:rPr>
                <a:t>Bidder 3</a:t>
              </a:r>
            </a:p>
          </p:txBody>
        </p:sp>
        <p:sp>
          <p:nvSpPr>
            <p:cNvPr id="17" name="Textfeld 34">
              <a:extLst>
                <a:ext uri="{FF2B5EF4-FFF2-40B4-BE49-F238E27FC236}">
                  <a16:creationId xmlns:a16="http://schemas.microsoft.com/office/drawing/2014/main" id="{A33035E2-F85F-48AF-AEBE-88FA1B43A089}"/>
                </a:ext>
              </a:extLst>
            </p:cNvPr>
            <p:cNvSpPr txBox="1"/>
            <p:nvPr/>
          </p:nvSpPr>
          <p:spPr>
            <a:xfrm>
              <a:off x="3200292" y="4422330"/>
              <a:ext cx="990707" cy="295675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+mn-lt"/>
                  <a:ea typeface="+mn-ea"/>
                  <a:cs typeface="Arial"/>
                </a:rPr>
                <a:t>Bidder 4</a:t>
              </a:r>
            </a:p>
          </p:txBody>
        </p:sp>
        <p:cxnSp>
          <p:nvCxnSpPr>
            <p:cNvPr id="18" name="Gewinkelte Verbindung 36">
              <a:extLst>
                <a:ext uri="{FF2B5EF4-FFF2-40B4-BE49-F238E27FC236}">
                  <a16:creationId xmlns:a16="http://schemas.microsoft.com/office/drawing/2014/main" id="{82025E3C-367C-42AE-BFA1-8E9A7284A98A}"/>
                </a:ext>
              </a:extLst>
            </p:cNvPr>
            <p:cNvCxnSpPr>
              <a:cxnSpLocks/>
              <a:stCxn id="14" idx="1"/>
            </p:cNvCxnSpPr>
            <p:nvPr/>
          </p:nvCxnSpPr>
          <p:spPr bwMode="auto">
            <a:xfrm rot="10800000" flipV="1">
              <a:off x="2558877" y="2970554"/>
              <a:ext cx="641415" cy="321562"/>
            </a:xfrm>
            <a:prstGeom prst="bentConnector3">
              <a:avLst>
                <a:gd name="adj1" fmla="val 50000"/>
              </a:avLst>
            </a:prstGeom>
            <a:solidFill>
              <a:srgbClr val="002F6C"/>
            </a:solidFill>
            <a:ln w="1270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winkelte Verbindung 38">
              <a:extLst>
                <a:ext uri="{FF2B5EF4-FFF2-40B4-BE49-F238E27FC236}">
                  <a16:creationId xmlns:a16="http://schemas.microsoft.com/office/drawing/2014/main" id="{70EEDA32-2F14-496E-AE22-E8B5174ACCE6}"/>
                </a:ext>
              </a:extLst>
            </p:cNvPr>
            <p:cNvCxnSpPr>
              <a:cxnSpLocks/>
              <a:stCxn id="15" idx="1"/>
            </p:cNvCxnSpPr>
            <p:nvPr/>
          </p:nvCxnSpPr>
          <p:spPr bwMode="auto">
            <a:xfrm rot="10800000">
              <a:off x="2558877" y="3292118"/>
              <a:ext cx="641415" cy="197969"/>
            </a:xfrm>
            <a:prstGeom prst="bentConnector3">
              <a:avLst>
                <a:gd name="adj1" fmla="val 50000"/>
              </a:avLst>
            </a:prstGeom>
            <a:solidFill>
              <a:srgbClr val="002F6C"/>
            </a:solidFill>
            <a:ln w="1270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winkelte Verbindung 50">
              <a:extLst>
                <a:ext uri="{FF2B5EF4-FFF2-40B4-BE49-F238E27FC236}">
                  <a16:creationId xmlns:a16="http://schemas.microsoft.com/office/drawing/2014/main" id="{AB401253-332C-401C-97EA-CDC7A3C6D494}"/>
                </a:ext>
              </a:extLst>
            </p:cNvPr>
            <p:cNvCxnSpPr>
              <a:cxnSpLocks/>
              <a:stCxn id="16" idx="1"/>
            </p:cNvCxnSpPr>
            <p:nvPr/>
          </p:nvCxnSpPr>
          <p:spPr bwMode="auto">
            <a:xfrm rot="10800000">
              <a:off x="2558877" y="3292119"/>
              <a:ext cx="641415" cy="738010"/>
            </a:xfrm>
            <a:prstGeom prst="bentConnector2">
              <a:avLst/>
            </a:prstGeom>
            <a:solidFill>
              <a:srgbClr val="002F6C"/>
            </a:solidFill>
            <a:ln w="1270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winkelte Verbindung 52">
              <a:extLst>
                <a:ext uri="{FF2B5EF4-FFF2-40B4-BE49-F238E27FC236}">
                  <a16:creationId xmlns:a16="http://schemas.microsoft.com/office/drawing/2014/main" id="{0A0B03DC-D5AD-4D28-8F2B-D684D5BD51A0}"/>
                </a:ext>
              </a:extLst>
            </p:cNvPr>
            <p:cNvCxnSpPr>
              <a:cxnSpLocks/>
              <a:stCxn id="17" idx="1"/>
            </p:cNvCxnSpPr>
            <p:nvPr/>
          </p:nvCxnSpPr>
          <p:spPr bwMode="auto">
            <a:xfrm rot="10800000">
              <a:off x="2558877" y="3292118"/>
              <a:ext cx="641415" cy="1278051"/>
            </a:xfrm>
            <a:prstGeom prst="bentConnector2">
              <a:avLst/>
            </a:prstGeom>
            <a:solidFill>
              <a:srgbClr val="002F6C"/>
            </a:solidFill>
            <a:ln w="1270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" name="Textfeld 31">
              <a:extLst>
                <a:ext uri="{FF2B5EF4-FFF2-40B4-BE49-F238E27FC236}">
                  <a16:creationId xmlns:a16="http://schemas.microsoft.com/office/drawing/2014/main" id="{BC673319-0132-4D18-88F1-1FC6461D9176}"/>
                </a:ext>
              </a:extLst>
            </p:cNvPr>
            <p:cNvSpPr txBox="1"/>
            <p:nvPr/>
          </p:nvSpPr>
          <p:spPr>
            <a:xfrm>
              <a:off x="532419" y="2303144"/>
              <a:ext cx="990707" cy="261611"/>
            </a:xfrm>
            <a:prstGeom prst="rect">
              <a:avLst/>
            </a:prstGeom>
            <a:solidFill>
              <a:srgbClr val="002F6C"/>
            </a:solidFill>
            <a:ln w="254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  <a:cs typeface="Arial"/>
                </a:rPr>
                <a:t>Auctioneer</a:t>
              </a:r>
            </a:p>
          </p:txBody>
        </p:sp>
        <p:pic>
          <p:nvPicPr>
            <p:cNvPr id="23" name="Graphic 22" descr="Arrow: Clockwise curve">
              <a:extLst>
                <a:ext uri="{FF2B5EF4-FFF2-40B4-BE49-F238E27FC236}">
                  <a16:creationId xmlns:a16="http://schemas.microsoft.com/office/drawing/2014/main" id="{6FD85B30-F1F5-4FCB-AEF2-727EF5807D5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9596047">
              <a:off x="1440438" y="2278408"/>
              <a:ext cx="650418" cy="650418"/>
            </a:xfrm>
            <a:prstGeom prst="rect">
              <a:avLst/>
            </a:prstGeom>
          </p:spPr>
        </p:pic>
        <p:sp>
          <p:nvSpPr>
            <p:cNvPr id="24" name="Abgerundetes Rechteck 7">
              <a:extLst>
                <a:ext uri="{FF2B5EF4-FFF2-40B4-BE49-F238E27FC236}">
                  <a16:creationId xmlns:a16="http://schemas.microsoft.com/office/drawing/2014/main" id="{146396CD-CB4B-4848-AB37-0BCB091F64D1}"/>
                </a:ext>
              </a:extLst>
            </p:cNvPr>
            <p:cNvSpPr/>
            <p:nvPr/>
          </p:nvSpPr>
          <p:spPr bwMode="auto">
            <a:xfrm>
              <a:off x="1529724" y="2920129"/>
              <a:ext cx="894777" cy="764443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01DEEA35-C751-4213-B670-59A1FB86F48C}"/>
                </a:ext>
              </a:extLst>
            </p:cNvPr>
            <p:cNvGrpSpPr/>
            <p:nvPr/>
          </p:nvGrpSpPr>
          <p:grpSpPr>
            <a:xfrm>
              <a:off x="1490472" y="2905998"/>
              <a:ext cx="1095485" cy="783769"/>
              <a:chOff x="1505838" y="1918091"/>
              <a:chExt cx="1095485" cy="783769"/>
            </a:xfrm>
          </p:grpSpPr>
          <p:sp>
            <p:nvSpPr>
              <p:cNvPr id="26" name="Abgerundetes Rechteck 8">
                <a:extLst>
                  <a:ext uri="{FF2B5EF4-FFF2-40B4-BE49-F238E27FC236}">
                    <a16:creationId xmlns:a16="http://schemas.microsoft.com/office/drawing/2014/main" id="{1BDD88FD-E2F5-4C7A-8783-0223683032A5}"/>
                  </a:ext>
                </a:extLst>
              </p:cNvPr>
              <p:cNvSpPr/>
              <p:nvPr/>
            </p:nvSpPr>
            <p:spPr bwMode="auto">
              <a:xfrm>
                <a:off x="1548888" y="1937417"/>
                <a:ext cx="894777" cy="764443"/>
              </a:xfrm>
              <a:prstGeom prst="roundRect">
                <a:avLst/>
              </a:prstGeom>
              <a:gradFill rotWithShape="1">
                <a:gsLst>
                  <a:gs pos="0">
                    <a:srgbClr val="002F6C">
                      <a:tint val="50000"/>
                      <a:satMod val="300000"/>
                    </a:srgbClr>
                  </a:gs>
                  <a:gs pos="35000">
                    <a:srgbClr val="002F6C">
                      <a:tint val="37000"/>
                      <a:satMod val="300000"/>
                    </a:srgbClr>
                  </a:gs>
                  <a:gs pos="100000">
                    <a:srgbClr val="002F6C">
                      <a:tint val="15000"/>
                      <a:satMod val="350000"/>
                    </a:srgbClr>
                  </a:gs>
                </a:gsLst>
                <a:lin ang="16200000" scaled="1"/>
              </a:gradFill>
              <a:ln w="9525" cap="flat" cmpd="sng" algn="ctr">
                <a:solidFill>
                  <a:srgbClr val="002F6C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0000" dir="5400000" rotWithShape="0">
                  <a:srgbClr val="000000">
                    <a:alpha val="38000"/>
                  </a:srgbClr>
                </a:outerShdw>
              </a:effectLst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Arial"/>
                </a:endParaRPr>
              </a:p>
            </p:txBody>
          </p:sp>
          <p:sp>
            <p:nvSpPr>
              <p:cNvPr id="27" name="Textfeld 15">
                <a:extLst>
                  <a:ext uri="{FF2B5EF4-FFF2-40B4-BE49-F238E27FC236}">
                    <a16:creationId xmlns:a16="http://schemas.microsoft.com/office/drawing/2014/main" id="{64B62DBA-5596-447E-9535-E74FE073F524}"/>
                  </a:ext>
                </a:extLst>
              </p:cNvPr>
              <p:cNvSpPr txBox="1"/>
              <p:nvPr/>
            </p:nvSpPr>
            <p:spPr>
              <a:xfrm>
                <a:off x="1511546" y="1918091"/>
                <a:ext cx="1089777" cy="26161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6C6463"/>
                    </a:solidFill>
                    <a:effectLst/>
                    <a:uLnTx/>
                    <a:uFillTx/>
                    <a:latin typeface="+mn-lt"/>
                    <a:cs typeface="Arial"/>
                  </a:rPr>
                  <a:t>Project site</a:t>
                </a:r>
              </a:p>
            </p:txBody>
          </p:sp>
          <p:sp>
            <p:nvSpPr>
              <p:cNvPr id="28" name="Textfeld 15">
                <a:extLst>
                  <a:ext uri="{FF2B5EF4-FFF2-40B4-BE49-F238E27FC236}">
                    <a16:creationId xmlns:a16="http://schemas.microsoft.com/office/drawing/2014/main" id="{77EC2096-50B8-4F95-BDB5-0B35774F2B84}"/>
                  </a:ext>
                </a:extLst>
              </p:cNvPr>
              <p:cNvSpPr txBox="1"/>
              <p:nvPr/>
            </p:nvSpPr>
            <p:spPr>
              <a:xfrm>
                <a:off x="1505838" y="2096273"/>
                <a:ext cx="980220" cy="6001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2F6C"/>
                    </a:solidFill>
                    <a:effectLst/>
                    <a:uLnTx/>
                    <a:uFillTx/>
                    <a:latin typeface="+mn-lt"/>
                    <a:cs typeface="Arial"/>
                  </a:rPr>
                  <a:t>Selected &amp; pre-developed</a:t>
                </a:r>
              </a:p>
            </p:txBody>
          </p:sp>
        </p:grpSp>
        <p:sp>
          <p:nvSpPr>
            <p:cNvPr id="29" name="Abgerundetes Rechteck 5">
              <a:extLst>
                <a:ext uri="{FF2B5EF4-FFF2-40B4-BE49-F238E27FC236}">
                  <a16:creationId xmlns:a16="http://schemas.microsoft.com/office/drawing/2014/main" id="{FDFE7276-B7D7-4856-A2AD-79DE70360B84}"/>
                </a:ext>
              </a:extLst>
            </p:cNvPr>
            <p:cNvSpPr/>
            <p:nvPr/>
          </p:nvSpPr>
          <p:spPr bwMode="auto">
            <a:xfrm>
              <a:off x="5908440" y="2773477"/>
              <a:ext cx="2089493" cy="1950923"/>
            </a:xfrm>
            <a:prstGeom prst="roundRect">
              <a:avLst/>
            </a:prstGeom>
            <a:noFill/>
            <a:ln w="19050" cap="flat" cmpd="sng" algn="ctr">
              <a:solidFill>
                <a:srgbClr val="002F6C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Arial" pitchFamily="34" charset="0"/>
              </a:endParaRPr>
            </a:p>
          </p:txBody>
        </p:sp>
        <p:sp>
          <p:nvSpPr>
            <p:cNvPr id="30" name="Abgerundetes Rechteck 7">
              <a:extLst>
                <a:ext uri="{FF2B5EF4-FFF2-40B4-BE49-F238E27FC236}">
                  <a16:creationId xmlns:a16="http://schemas.microsoft.com/office/drawing/2014/main" id="{4FBCF691-1919-4A12-B3C6-C1EA1096FB5E}"/>
                </a:ext>
              </a:extLst>
            </p:cNvPr>
            <p:cNvSpPr/>
            <p:nvPr/>
          </p:nvSpPr>
          <p:spPr bwMode="auto">
            <a:xfrm>
              <a:off x="6116986" y="3369747"/>
              <a:ext cx="615170" cy="394017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15 MW</a:t>
              </a:r>
            </a:p>
          </p:txBody>
        </p:sp>
        <p:sp>
          <p:nvSpPr>
            <p:cNvPr id="31" name="Abgerundetes Rechteck 9">
              <a:extLst>
                <a:ext uri="{FF2B5EF4-FFF2-40B4-BE49-F238E27FC236}">
                  <a16:creationId xmlns:a16="http://schemas.microsoft.com/office/drawing/2014/main" id="{260AB102-C0DF-4874-ACA1-E4790DB5678E}"/>
                </a:ext>
              </a:extLst>
            </p:cNvPr>
            <p:cNvSpPr/>
            <p:nvPr/>
          </p:nvSpPr>
          <p:spPr bwMode="auto">
            <a:xfrm>
              <a:off x="6139661" y="3979109"/>
              <a:ext cx="759486" cy="638447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30 MW</a:t>
              </a:r>
            </a:p>
          </p:txBody>
        </p:sp>
        <p:sp>
          <p:nvSpPr>
            <p:cNvPr id="32" name="Textfeld 15">
              <a:extLst>
                <a:ext uri="{FF2B5EF4-FFF2-40B4-BE49-F238E27FC236}">
                  <a16:creationId xmlns:a16="http://schemas.microsoft.com/office/drawing/2014/main" id="{6C5B4C3B-42FC-4CD7-A2B3-A9E05516152F}"/>
                </a:ext>
              </a:extLst>
            </p:cNvPr>
            <p:cNvSpPr txBox="1"/>
            <p:nvPr/>
          </p:nvSpPr>
          <p:spPr>
            <a:xfrm>
              <a:off x="6122673" y="2736999"/>
              <a:ext cx="1565964" cy="4869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dirty="0">
                  <a:solidFill>
                    <a:srgbClr val="6C6463"/>
                  </a:solidFill>
                  <a:latin typeface="+mn-lt"/>
                  <a:cs typeface="Arial"/>
                </a:rPr>
                <a:t>Procured volume (e.g. 100 MW)</a:t>
              </a:r>
            </a:p>
          </p:txBody>
        </p:sp>
        <p:sp>
          <p:nvSpPr>
            <p:cNvPr id="33" name="Abgerundetes Rechteck 9">
              <a:extLst>
                <a:ext uri="{FF2B5EF4-FFF2-40B4-BE49-F238E27FC236}">
                  <a16:creationId xmlns:a16="http://schemas.microsoft.com/office/drawing/2014/main" id="{3832F6F8-D816-404C-86AA-F4D1B44652C2}"/>
                </a:ext>
              </a:extLst>
            </p:cNvPr>
            <p:cNvSpPr/>
            <p:nvPr/>
          </p:nvSpPr>
          <p:spPr bwMode="auto">
            <a:xfrm>
              <a:off x="7031472" y="3979109"/>
              <a:ext cx="759486" cy="638447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30 MW</a:t>
              </a:r>
            </a:p>
          </p:txBody>
        </p:sp>
        <p:sp>
          <p:nvSpPr>
            <p:cNvPr id="34" name="Abgerundetes Rechteck 7">
              <a:extLst>
                <a:ext uri="{FF2B5EF4-FFF2-40B4-BE49-F238E27FC236}">
                  <a16:creationId xmlns:a16="http://schemas.microsoft.com/office/drawing/2014/main" id="{68717587-1D71-492C-87D3-6DDDCDB1970D}"/>
                </a:ext>
              </a:extLst>
            </p:cNvPr>
            <p:cNvSpPr/>
            <p:nvPr/>
          </p:nvSpPr>
          <p:spPr bwMode="auto">
            <a:xfrm>
              <a:off x="7054507" y="3261248"/>
              <a:ext cx="615170" cy="611017"/>
            </a:xfrm>
            <a:prstGeom prst="roundRect">
              <a:avLst/>
            </a:prstGeom>
            <a:solidFill>
              <a:srgbClr val="E8E8E8"/>
            </a:solidFill>
            <a:ln w="9525" cap="flat" cmpd="sng" algn="ctr">
              <a:solidFill>
                <a:srgbClr val="BA0C2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25</a:t>
              </a:r>
            </a:p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+mn-lt"/>
                  <a:cs typeface="Arial" pitchFamily="34" charset="0"/>
                </a:rPr>
                <a:t>MW</a:t>
              </a:r>
            </a:p>
          </p:txBody>
        </p:sp>
        <p:sp>
          <p:nvSpPr>
            <p:cNvPr id="35" name="Textfeld 31">
              <a:extLst>
                <a:ext uri="{FF2B5EF4-FFF2-40B4-BE49-F238E27FC236}">
                  <a16:creationId xmlns:a16="http://schemas.microsoft.com/office/drawing/2014/main" id="{3269DB2B-35F2-4E10-B092-205A74434045}"/>
                </a:ext>
              </a:extLst>
            </p:cNvPr>
            <p:cNvSpPr txBox="1"/>
            <p:nvPr/>
          </p:nvSpPr>
          <p:spPr>
            <a:xfrm>
              <a:off x="8115187" y="3310102"/>
              <a:ext cx="838318" cy="295675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+mn-lt"/>
                  <a:ea typeface="+mn-ea"/>
                  <a:cs typeface="Arial"/>
                </a:rPr>
                <a:t>Bidder 1</a:t>
              </a:r>
            </a:p>
          </p:txBody>
        </p:sp>
        <p:cxnSp>
          <p:nvCxnSpPr>
            <p:cNvPr id="36" name="Gewinkelte Verbindung 36">
              <a:extLst>
                <a:ext uri="{FF2B5EF4-FFF2-40B4-BE49-F238E27FC236}">
                  <a16:creationId xmlns:a16="http://schemas.microsoft.com/office/drawing/2014/main" id="{C3D133C1-B178-4F4E-BD51-DCFD6E33CF91}"/>
                </a:ext>
              </a:extLst>
            </p:cNvPr>
            <p:cNvCxnSpPr>
              <a:cxnSpLocks/>
            </p:cNvCxnSpPr>
            <p:nvPr/>
          </p:nvCxnSpPr>
          <p:spPr bwMode="auto">
            <a:xfrm rot="10800000" flipV="1">
              <a:off x="7703194" y="3437838"/>
              <a:ext cx="458413" cy="77282"/>
            </a:xfrm>
            <a:prstGeom prst="bentConnector3">
              <a:avLst>
                <a:gd name="adj1" fmla="val 50000"/>
              </a:avLst>
            </a:prstGeom>
            <a:solidFill>
              <a:srgbClr val="002F6C"/>
            </a:solidFill>
            <a:ln w="19050" cap="flat" cmpd="sng" algn="ctr">
              <a:solidFill>
                <a:srgbClr val="635C5B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7" name="Textfeld 32">
              <a:extLst>
                <a:ext uri="{FF2B5EF4-FFF2-40B4-BE49-F238E27FC236}">
                  <a16:creationId xmlns:a16="http://schemas.microsoft.com/office/drawing/2014/main" id="{57B98143-BC40-4F2A-B0A5-979E5EB5E90F}"/>
                </a:ext>
              </a:extLst>
            </p:cNvPr>
            <p:cNvSpPr txBox="1"/>
            <p:nvPr/>
          </p:nvSpPr>
          <p:spPr>
            <a:xfrm>
              <a:off x="4760887" y="3312993"/>
              <a:ext cx="873688" cy="295675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+mn-lt"/>
                  <a:ea typeface="+mn-ea"/>
                  <a:cs typeface="Arial"/>
                </a:rPr>
                <a:t>Bidder 2</a:t>
              </a:r>
            </a:p>
          </p:txBody>
        </p:sp>
        <p:cxnSp>
          <p:nvCxnSpPr>
            <p:cNvPr id="38" name="Connector: Elbow 37">
              <a:extLst>
                <a:ext uri="{FF2B5EF4-FFF2-40B4-BE49-F238E27FC236}">
                  <a16:creationId xmlns:a16="http://schemas.microsoft.com/office/drawing/2014/main" id="{CD08137D-6613-4BF3-A1FA-779877C1EB2F}"/>
                </a:ext>
              </a:extLst>
            </p:cNvPr>
            <p:cNvCxnSpPr>
              <a:stCxn id="37" idx="3"/>
              <a:endCxn id="30" idx="1"/>
            </p:cNvCxnSpPr>
            <p:nvPr/>
          </p:nvCxnSpPr>
          <p:spPr>
            <a:xfrm>
              <a:off x="5634575" y="3460830"/>
              <a:ext cx="482411" cy="105925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635C5B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39" name="Textfeld 32">
              <a:extLst>
                <a:ext uri="{FF2B5EF4-FFF2-40B4-BE49-F238E27FC236}">
                  <a16:creationId xmlns:a16="http://schemas.microsoft.com/office/drawing/2014/main" id="{36AD20EB-961B-4CFE-B554-F542603F062C}"/>
                </a:ext>
              </a:extLst>
            </p:cNvPr>
            <p:cNvSpPr txBox="1"/>
            <p:nvPr/>
          </p:nvSpPr>
          <p:spPr>
            <a:xfrm>
              <a:off x="4760887" y="4038600"/>
              <a:ext cx="873688" cy="295675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marL="0" marR="0" lvl="0" indent="0" algn="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+mn-lt"/>
                  <a:ea typeface="+mn-ea"/>
                  <a:cs typeface="Arial"/>
                </a:rPr>
                <a:t>Bidder 3</a:t>
              </a:r>
            </a:p>
          </p:txBody>
        </p:sp>
        <p:cxnSp>
          <p:nvCxnSpPr>
            <p:cNvPr id="40" name="Connector: Elbow 39">
              <a:extLst>
                <a:ext uri="{FF2B5EF4-FFF2-40B4-BE49-F238E27FC236}">
                  <a16:creationId xmlns:a16="http://schemas.microsoft.com/office/drawing/2014/main" id="{7A6973DD-066C-4F92-A2F9-CAB3DB2F9702}"/>
                </a:ext>
              </a:extLst>
            </p:cNvPr>
            <p:cNvCxnSpPr>
              <a:stCxn id="39" idx="3"/>
            </p:cNvCxnSpPr>
            <p:nvPr/>
          </p:nvCxnSpPr>
          <p:spPr>
            <a:xfrm>
              <a:off x="5634575" y="4186438"/>
              <a:ext cx="482412" cy="105926"/>
            </a:xfrm>
            <a:prstGeom prst="bentConnector3">
              <a:avLst>
                <a:gd name="adj1" fmla="val 50000"/>
              </a:avLst>
            </a:prstGeom>
            <a:noFill/>
            <a:ln w="19050" cap="flat" cmpd="sng" algn="ctr">
              <a:solidFill>
                <a:srgbClr val="635C5B"/>
              </a:solidFill>
              <a:prstDash val="solid"/>
              <a:tailEnd type="triangle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</p:cxnSp>
        <p:sp>
          <p:nvSpPr>
            <p:cNvPr id="41" name="Textfeld 31">
              <a:extLst>
                <a:ext uri="{FF2B5EF4-FFF2-40B4-BE49-F238E27FC236}">
                  <a16:creationId xmlns:a16="http://schemas.microsoft.com/office/drawing/2014/main" id="{3FFE6A01-5AFE-4A74-B9DC-A017414F577C}"/>
                </a:ext>
              </a:extLst>
            </p:cNvPr>
            <p:cNvSpPr txBox="1"/>
            <p:nvPr/>
          </p:nvSpPr>
          <p:spPr>
            <a:xfrm>
              <a:off x="8267587" y="4114800"/>
              <a:ext cx="838318" cy="295675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+mn-lt"/>
                  <a:ea typeface="+mn-ea"/>
                  <a:cs typeface="Arial"/>
                </a:rPr>
                <a:t>Bidder 4</a:t>
              </a:r>
            </a:p>
          </p:txBody>
        </p:sp>
        <p:cxnSp>
          <p:nvCxnSpPr>
            <p:cNvPr id="42" name="Gewinkelte Verbindung 36">
              <a:extLst>
                <a:ext uri="{FF2B5EF4-FFF2-40B4-BE49-F238E27FC236}">
                  <a16:creationId xmlns:a16="http://schemas.microsoft.com/office/drawing/2014/main" id="{56C8ECF0-9CB1-453F-B734-4B28CCBC0A44}"/>
                </a:ext>
              </a:extLst>
            </p:cNvPr>
            <p:cNvCxnSpPr>
              <a:cxnSpLocks/>
            </p:cNvCxnSpPr>
            <p:nvPr/>
          </p:nvCxnSpPr>
          <p:spPr bwMode="auto">
            <a:xfrm rot="10800000" flipV="1">
              <a:off x="7855594" y="4242536"/>
              <a:ext cx="458413" cy="77282"/>
            </a:xfrm>
            <a:prstGeom prst="bentConnector3">
              <a:avLst>
                <a:gd name="adj1" fmla="val 50000"/>
              </a:avLst>
            </a:prstGeom>
            <a:solidFill>
              <a:srgbClr val="002F6C"/>
            </a:solidFill>
            <a:ln w="19050" cap="flat" cmpd="sng" algn="ctr">
              <a:solidFill>
                <a:srgbClr val="635C5B"/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3" name="Textfeld 31">
              <a:extLst>
                <a:ext uri="{FF2B5EF4-FFF2-40B4-BE49-F238E27FC236}">
                  <a16:creationId xmlns:a16="http://schemas.microsoft.com/office/drawing/2014/main" id="{6C273132-6D81-486B-AF8B-607C6BAA5864}"/>
                </a:ext>
              </a:extLst>
            </p:cNvPr>
            <p:cNvSpPr txBox="1"/>
            <p:nvPr/>
          </p:nvSpPr>
          <p:spPr>
            <a:xfrm>
              <a:off x="5168587" y="2288996"/>
              <a:ext cx="990707" cy="261611"/>
            </a:xfrm>
            <a:prstGeom prst="rect">
              <a:avLst/>
            </a:prstGeom>
            <a:solidFill>
              <a:srgbClr val="002F6C"/>
            </a:solidFill>
            <a:ln w="25400" cap="flat" cmpd="sng" algn="ctr">
              <a:solidFill>
                <a:srgbClr val="002F6C"/>
              </a:solidFill>
              <a:prstDash val="solid"/>
            </a:ln>
            <a:effectLst/>
          </p:spPr>
          <p:txBody>
            <a:bodyPr wrap="square" rtlCol="0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  <a:cs typeface="Arial"/>
                </a:rPr>
                <a:t>Auctioneer</a:t>
              </a:r>
            </a:p>
          </p:txBody>
        </p:sp>
        <p:pic>
          <p:nvPicPr>
            <p:cNvPr id="44" name="Graphic 43" descr="Arrow: Clockwise curve">
              <a:extLst>
                <a:ext uri="{FF2B5EF4-FFF2-40B4-BE49-F238E27FC236}">
                  <a16:creationId xmlns:a16="http://schemas.microsoft.com/office/drawing/2014/main" id="{9A64E9A9-E096-4313-8A95-B678AC91CFF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 rot="8880063">
              <a:off x="6094664" y="2289348"/>
              <a:ext cx="543862" cy="543862"/>
            </a:xfrm>
            <a:prstGeom prst="rect">
              <a:avLst/>
            </a:prstGeom>
          </p:spPr>
        </p:pic>
      </p:grpSp>
      <p:sp>
        <p:nvSpPr>
          <p:cNvPr id="46" name="Rectangle 45">
            <a:extLst>
              <a:ext uri="{FF2B5EF4-FFF2-40B4-BE49-F238E27FC236}">
                <a16:creationId xmlns:a16="http://schemas.microsoft.com/office/drawing/2014/main" id="{47A51688-5D8B-4FFD-BE71-5E97A3F86204}"/>
              </a:ext>
            </a:extLst>
          </p:cNvPr>
          <p:cNvSpPr/>
          <p:nvPr/>
        </p:nvSpPr>
        <p:spPr>
          <a:xfrm>
            <a:off x="183399" y="4191000"/>
            <a:ext cx="4430485" cy="2554545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B050"/>
                </a:solidFill>
                <a:latin typeface="+mn-lt"/>
              </a:rPr>
              <a:t>Benefits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Grid-compatible RE development.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Lower risks &amp; costs of project development if adequate quality. 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C00000"/>
                </a:solidFill>
                <a:latin typeface="+mn-lt"/>
              </a:rPr>
              <a:t>Challenges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Higher admin. burden on government.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Reduced role of bidders in finding optimal site.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Risk of ‚faulty‘ site selection and preparation.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82CE1938-DEBE-466F-BE14-D3012B36ED59}"/>
              </a:ext>
            </a:extLst>
          </p:cNvPr>
          <p:cNvSpPr/>
          <p:nvPr/>
        </p:nvSpPr>
        <p:spPr>
          <a:xfrm>
            <a:off x="4495800" y="4191000"/>
            <a:ext cx="4541001" cy="230832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00B050"/>
                </a:solidFill>
                <a:latin typeface="+mn-lt"/>
              </a:rPr>
              <a:t>Benefits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Lower admin. burden on government.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Site-specific risks mitigated through bidder-driven project development.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C00000"/>
                </a:solidFill>
                <a:latin typeface="+mn-lt"/>
              </a:rPr>
              <a:t>Challenges</a:t>
            </a:r>
            <a:endParaRPr lang="en-US" sz="1600" dirty="0">
              <a:solidFill>
                <a:srgbClr val="C00000"/>
              </a:solidFill>
              <a:latin typeface="+mn-lt"/>
            </a:endParaRP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Lower grid-compatible RE development in absence of locational signals.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Higher risks &amp; costs of project development if uncertainty about project costs and timeline.</a:t>
            </a:r>
          </a:p>
        </p:txBody>
      </p:sp>
    </p:spTree>
    <p:extLst>
      <p:ext uri="{BB962C8B-B14F-4D97-AF65-F5344CB8AC3E}">
        <p14:creationId xmlns:p14="http://schemas.microsoft.com/office/powerpoint/2010/main" val="6348466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371600"/>
            <a:ext cx="7772400" cy="457200"/>
          </a:xfrm>
        </p:spPr>
        <p:txBody>
          <a:bodyPr/>
          <a:lstStyle/>
          <a:p>
            <a:pPr algn="ctr"/>
            <a:r>
              <a:rPr lang="en-US" dirty="0"/>
              <a:t>Site selection and preparation: country examples</a:t>
            </a:r>
          </a:p>
        </p:txBody>
      </p:sp>
      <p:sp>
        <p:nvSpPr>
          <p:cNvPr id="8" name="Content Placeholder 27">
            <a:extLst>
              <a:ext uri="{FF2B5EF4-FFF2-40B4-BE49-F238E27FC236}">
                <a16:creationId xmlns:a16="http://schemas.microsoft.com/office/drawing/2014/main" id="{1D714345-2F45-430F-AD34-EFE952E1FA84}"/>
              </a:ext>
            </a:extLst>
          </p:cNvPr>
          <p:cNvSpPr txBox="1">
            <a:spLocks/>
          </p:cNvSpPr>
          <p:nvPr/>
        </p:nvSpPr>
        <p:spPr>
          <a:xfrm>
            <a:off x="457200" y="1828800"/>
            <a:ext cx="3878710" cy="34834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</a:rPr>
              <a:t>Government-site auc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9" name="Content Placeholder 27">
            <a:extLst>
              <a:ext uri="{FF2B5EF4-FFF2-40B4-BE49-F238E27FC236}">
                <a16:creationId xmlns:a16="http://schemas.microsoft.com/office/drawing/2014/main" id="{2656D9BB-43B9-4C3F-ADD3-6AED6F1864B7}"/>
              </a:ext>
            </a:extLst>
          </p:cNvPr>
          <p:cNvSpPr txBox="1">
            <a:spLocks/>
          </p:cNvSpPr>
          <p:nvPr/>
        </p:nvSpPr>
        <p:spPr>
          <a:xfrm>
            <a:off x="4808398" y="1833606"/>
            <a:ext cx="3878710" cy="5078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</a:rPr>
              <a:t>Bidder-site auction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</a:endParaRPr>
          </a:p>
          <a:p>
            <a:pPr marL="0" marR="0" lvl="0" indent="0" algn="l" defTabSz="4572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</a:endParaRPr>
          </a:p>
        </p:txBody>
      </p:sp>
      <p:sp>
        <p:nvSpPr>
          <p:cNvPr id="10" name="Abgerundetes Rechteck 5">
            <a:extLst>
              <a:ext uri="{FF2B5EF4-FFF2-40B4-BE49-F238E27FC236}">
                <a16:creationId xmlns:a16="http://schemas.microsoft.com/office/drawing/2014/main" id="{766D64FF-4623-40E1-8144-25592C51524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57200" y="2773477"/>
            <a:ext cx="2089493" cy="1950923"/>
          </a:xfrm>
          <a:prstGeom prst="roundRect">
            <a:avLst/>
          </a:prstGeom>
          <a:solidFill>
            <a:srgbClr val="E8E8E8"/>
          </a:solidFill>
          <a:ln w="9525" cap="flat" cmpd="sng" algn="ctr">
            <a:solidFill>
              <a:srgbClr val="BA0C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sp>
        <p:nvSpPr>
          <p:cNvPr id="11" name="Abgerundetes Rechteck 7">
            <a:extLst>
              <a:ext uri="{FF2B5EF4-FFF2-40B4-BE49-F238E27FC236}">
                <a16:creationId xmlns:a16="http://schemas.microsoft.com/office/drawing/2014/main" id="{4327D86F-E8C2-43AE-9E8E-CA86E19977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79830" y="2915839"/>
            <a:ext cx="894777" cy="764443"/>
          </a:xfrm>
          <a:prstGeom prst="roundRect">
            <a:avLst/>
          </a:prstGeom>
          <a:solidFill>
            <a:srgbClr val="E8E8E8"/>
          </a:solidFill>
          <a:ln w="9525" cap="flat" cmpd="sng" algn="ctr">
            <a:solidFill>
              <a:srgbClr val="BA0C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sp>
        <p:nvSpPr>
          <p:cNvPr id="12" name="Abgerundetes Rechteck 9">
            <a:extLst>
              <a:ext uri="{FF2B5EF4-FFF2-40B4-BE49-F238E27FC236}">
                <a16:creationId xmlns:a16="http://schemas.microsoft.com/office/drawing/2014/main" id="{BDCEF667-89DE-4F75-B651-97FCC16F54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65162" y="3774791"/>
            <a:ext cx="894777" cy="764443"/>
          </a:xfrm>
          <a:prstGeom prst="roundRect">
            <a:avLst/>
          </a:prstGeom>
          <a:solidFill>
            <a:srgbClr val="E8E8E8"/>
          </a:solidFill>
          <a:ln w="9525" cap="flat" cmpd="sng" algn="ctr">
            <a:solidFill>
              <a:srgbClr val="BA0C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sp>
        <p:nvSpPr>
          <p:cNvPr id="13" name="Abgerundetes Rechteck 10">
            <a:extLst>
              <a:ext uri="{FF2B5EF4-FFF2-40B4-BE49-F238E27FC236}">
                <a16:creationId xmlns:a16="http://schemas.microsoft.com/office/drawing/2014/main" id="{4FFEE90C-2378-4A70-8141-97C3FAC51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529724" y="3774792"/>
            <a:ext cx="894777" cy="764443"/>
          </a:xfrm>
          <a:prstGeom prst="roundRect">
            <a:avLst/>
          </a:prstGeom>
          <a:solidFill>
            <a:srgbClr val="E8E8E8"/>
          </a:solidFill>
          <a:ln w="9525" cap="flat" cmpd="sng" algn="ctr">
            <a:solidFill>
              <a:srgbClr val="BA0C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sp>
        <p:nvSpPr>
          <p:cNvPr id="14" name="Textfeld 31">
            <a:extLst>
              <a:ext uri="{FF2B5EF4-FFF2-40B4-BE49-F238E27FC236}">
                <a16:creationId xmlns:a16="http://schemas.microsoft.com/office/drawing/2014/main" id="{D221A96A-C873-4B35-93C1-99B9888B9277}"/>
              </a:ext>
            </a:extLst>
          </p:cNvPr>
          <p:cNvSpPr txBox="1"/>
          <p:nvPr/>
        </p:nvSpPr>
        <p:spPr>
          <a:xfrm>
            <a:off x="3200293" y="2822717"/>
            <a:ext cx="990707" cy="26161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2F6C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Bidder 1</a:t>
            </a:r>
          </a:p>
        </p:txBody>
      </p:sp>
      <p:sp>
        <p:nvSpPr>
          <p:cNvPr id="15" name="Textfeld 32">
            <a:extLst>
              <a:ext uri="{FF2B5EF4-FFF2-40B4-BE49-F238E27FC236}">
                <a16:creationId xmlns:a16="http://schemas.microsoft.com/office/drawing/2014/main" id="{5EA4FD7D-0419-4225-867C-C79028A22D37}"/>
              </a:ext>
            </a:extLst>
          </p:cNvPr>
          <p:cNvSpPr txBox="1"/>
          <p:nvPr/>
        </p:nvSpPr>
        <p:spPr>
          <a:xfrm>
            <a:off x="3200293" y="3342249"/>
            <a:ext cx="990707" cy="26161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2F6C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Bidder 2</a:t>
            </a:r>
          </a:p>
        </p:txBody>
      </p:sp>
      <p:sp>
        <p:nvSpPr>
          <p:cNvPr id="16" name="Textfeld 33">
            <a:extLst>
              <a:ext uri="{FF2B5EF4-FFF2-40B4-BE49-F238E27FC236}">
                <a16:creationId xmlns:a16="http://schemas.microsoft.com/office/drawing/2014/main" id="{164A1E8C-EEB9-4771-945B-A10D324C6BF7}"/>
              </a:ext>
            </a:extLst>
          </p:cNvPr>
          <p:cNvSpPr txBox="1"/>
          <p:nvPr/>
        </p:nvSpPr>
        <p:spPr>
          <a:xfrm>
            <a:off x="3200293" y="3882290"/>
            <a:ext cx="990707" cy="26161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2F6C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Bidder 3</a:t>
            </a:r>
          </a:p>
        </p:txBody>
      </p:sp>
      <p:sp>
        <p:nvSpPr>
          <p:cNvPr id="17" name="Textfeld 34">
            <a:extLst>
              <a:ext uri="{FF2B5EF4-FFF2-40B4-BE49-F238E27FC236}">
                <a16:creationId xmlns:a16="http://schemas.microsoft.com/office/drawing/2014/main" id="{A33035E2-F85F-48AF-AEBE-88FA1B43A089}"/>
              </a:ext>
            </a:extLst>
          </p:cNvPr>
          <p:cNvSpPr txBox="1"/>
          <p:nvPr/>
        </p:nvSpPr>
        <p:spPr>
          <a:xfrm>
            <a:off x="3200293" y="4422330"/>
            <a:ext cx="990707" cy="26161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2F6C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Bidder 4</a:t>
            </a:r>
          </a:p>
        </p:txBody>
      </p:sp>
      <p:cxnSp>
        <p:nvCxnSpPr>
          <p:cNvPr id="18" name="Gewinkelte Verbindung 36">
            <a:extLst>
              <a:ext uri="{FF2B5EF4-FFF2-40B4-BE49-F238E27FC236}">
                <a16:creationId xmlns:a16="http://schemas.microsoft.com/office/drawing/2014/main" id="{82025E3C-367C-42AE-BFA1-8E9A7284A9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4" idx="1"/>
          </p:cNvCxnSpPr>
          <p:nvPr/>
        </p:nvCxnSpPr>
        <p:spPr bwMode="auto">
          <a:xfrm rot="10800000" flipV="1">
            <a:off x="2558877" y="2953521"/>
            <a:ext cx="641416" cy="338595"/>
          </a:xfrm>
          <a:prstGeom prst="bentConnector3">
            <a:avLst>
              <a:gd name="adj1" fmla="val 50000"/>
            </a:avLst>
          </a:prstGeom>
          <a:solidFill>
            <a:srgbClr val="002F6C"/>
          </a:solidFill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Gewinkelte Verbindung 38">
            <a:extLst>
              <a:ext uri="{FF2B5EF4-FFF2-40B4-BE49-F238E27FC236}">
                <a16:creationId xmlns:a16="http://schemas.microsoft.com/office/drawing/2014/main" id="{70EEDA32-2F14-496E-AE22-E8B5174ACC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5" idx="1"/>
          </p:cNvCxnSpPr>
          <p:nvPr/>
        </p:nvCxnSpPr>
        <p:spPr bwMode="auto">
          <a:xfrm rot="10800000">
            <a:off x="2558877" y="3292117"/>
            <a:ext cx="641416" cy="180938"/>
          </a:xfrm>
          <a:prstGeom prst="bentConnector3">
            <a:avLst>
              <a:gd name="adj1" fmla="val 50000"/>
            </a:avLst>
          </a:prstGeom>
          <a:solidFill>
            <a:srgbClr val="002F6C"/>
          </a:solidFill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Gewinkelte Verbindung 50">
            <a:extLst>
              <a:ext uri="{FF2B5EF4-FFF2-40B4-BE49-F238E27FC236}">
                <a16:creationId xmlns:a16="http://schemas.microsoft.com/office/drawing/2014/main" id="{AB401253-332C-401C-97EA-CDC7A3C6D4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6" idx="1"/>
          </p:cNvCxnSpPr>
          <p:nvPr/>
        </p:nvCxnSpPr>
        <p:spPr bwMode="auto">
          <a:xfrm rot="10800000">
            <a:off x="2558877" y="3292118"/>
            <a:ext cx="641416" cy="720979"/>
          </a:xfrm>
          <a:prstGeom prst="bentConnector3">
            <a:avLst>
              <a:gd name="adj1" fmla="val 50000"/>
            </a:avLst>
          </a:prstGeom>
          <a:solidFill>
            <a:srgbClr val="002F6C"/>
          </a:solidFill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Gewinkelte Verbindung 52">
            <a:extLst>
              <a:ext uri="{FF2B5EF4-FFF2-40B4-BE49-F238E27FC236}">
                <a16:creationId xmlns:a16="http://schemas.microsoft.com/office/drawing/2014/main" id="{0A0B03DC-D5AD-4D28-8F2B-D684D5BD51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  <a:stCxn id="17" idx="1"/>
          </p:cNvCxnSpPr>
          <p:nvPr/>
        </p:nvCxnSpPr>
        <p:spPr bwMode="auto">
          <a:xfrm rot="10800000">
            <a:off x="2558877" y="3292117"/>
            <a:ext cx="641416" cy="1261017"/>
          </a:xfrm>
          <a:prstGeom prst="bentConnector3">
            <a:avLst>
              <a:gd name="adj1" fmla="val 50000"/>
            </a:avLst>
          </a:prstGeom>
          <a:solidFill>
            <a:srgbClr val="002F6C"/>
          </a:solidFill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Textfeld 31">
            <a:extLst>
              <a:ext uri="{FF2B5EF4-FFF2-40B4-BE49-F238E27FC236}">
                <a16:creationId xmlns:a16="http://schemas.microsoft.com/office/drawing/2014/main" id="{BC673319-0132-4D18-88F1-1FC6461D9176}"/>
              </a:ext>
            </a:extLst>
          </p:cNvPr>
          <p:cNvSpPr txBox="1"/>
          <p:nvPr/>
        </p:nvSpPr>
        <p:spPr>
          <a:xfrm>
            <a:off x="469232" y="2223948"/>
            <a:ext cx="990707" cy="261610"/>
          </a:xfrm>
          <a:prstGeom prst="rect">
            <a:avLst/>
          </a:prstGeom>
          <a:solidFill>
            <a:srgbClr val="002F6C"/>
          </a:solidFill>
          <a:ln w="25400" cap="flat" cmpd="sng" algn="ctr">
            <a:solidFill>
              <a:srgbClr val="002F6C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Auctioneer</a:t>
            </a:r>
          </a:p>
        </p:txBody>
      </p:sp>
      <p:pic>
        <p:nvPicPr>
          <p:cNvPr id="23" name="Graphic 22" descr="Arrow: Clockwise curve">
            <a:extLst>
              <a:ext uri="{FF2B5EF4-FFF2-40B4-BE49-F238E27FC236}">
                <a16:creationId xmlns:a16="http://schemas.microsoft.com/office/drawing/2014/main" id="{6FD85B30-F1F5-4FCB-AEF2-727EF5807D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9596047">
            <a:off x="1440438" y="2278408"/>
            <a:ext cx="650418" cy="650418"/>
          </a:xfrm>
          <a:prstGeom prst="rect">
            <a:avLst/>
          </a:prstGeom>
        </p:spPr>
      </p:pic>
      <p:sp>
        <p:nvSpPr>
          <p:cNvPr id="24" name="Abgerundetes Rechteck 7">
            <a:extLst>
              <a:ext uri="{FF2B5EF4-FFF2-40B4-BE49-F238E27FC236}">
                <a16:creationId xmlns:a16="http://schemas.microsoft.com/office/drawing/2014/main" id="{146396CD-CB4B-4848-AB37-0BCB091F64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529724" y="2920129"/>
            <a:ext cx="894777" cy="764443"/>
          </a:xfrm>
          <a:prstGeom prst="roundRect">
            <a:avLst/>
          </a:prstGeom>
          <a:solidFill>
            <a:srgbClr val="E8E8E8"/>
          </a:solidFill>
          <a:ln w="9525" cap="flat" cmpd="sng" algn="ctr">
            <a:solidFill>
              <a:srgbClr val="BA0C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1DEEA35-C751-4213-B670-59A1FB86F4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515056" y="2892907"/>
            <a:ext cx="1021366" cy="796860"/>
            <a:chOff x="1530422" y="1905000"/>
            <a:chExt cx="1021366" cy="796860"/>
          </a:xfrm>
        </p:grpSpPr>
        <p:sp>
          <p:nvSpPr>
            <p:cNvPr id="26" name="Abgerundetes Rechteck 8">
              <a:extLst>
                <a:ext uri="{FF2B5EF4-FFF2-40B4-BE49-F238E27FC236}">
                  <a16:creationId xmlns:a16="http://schemas.microsoft.com/office/drawing/2014/main" id="{1BDD88FD-E2F5-4C7A-8783-0223683032A5}"/>
                </a:ext>
              </a:extLst>
            </p:cNvPr>
            <p:cNvSpPr/>
            <p:nvPr/>
          </p:nvSpPr>
          <p:spPr bwMode="auto">
            <a:xfrm>
              <a:off x="1548888" y="1937417"/>
              <a:ext cx="894777" cy="764443"/>
            </a:xfrm>
            <a:prstGeom prst="roundRect">
              <a:avLst/>
            </a:prstGeom>
            <a:gradFill rotWithShape="1">
              <a:gsLst>
                <a:gs pos="0">
                  <a:srgbClr val="002F6C">
                    <a:tint val="50000"/>
                    <a:satMod val="300000"/>
                  </a:srgbClr>
                </a:gs>
                <a:gs pos="35000">
                  <a:srgbClr val="002F6C">
                    <a:tint val="37000"/>
                    <a:satMod val="300000"/>
                  </a:srgbClr>
                </a:gs>
                <a:gs pos="100000">
                  <a:srgbClr val="002F6C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002F6C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/>
              </a:endParaRPr>
            </a:p>
          </p:txBody>
        </p:sp>
        <p:sp>
          <p:nvSpPr>
            <p:cNvPr id="27" name="Textfeld 15">
              <a:extLst>
                <a:ext uri="{FF2B5EF4-FFF2-40B4-BE49-F238E27FC236}">
                  <a16:creationId xmlns:a16="http://schemas.microsoft.com/office/drawing/2014/main" id="{64B62DBA-5596-447E-9535-E74FE073F524}"/>
                </a:ext>
              </a:extLst>
            </p:cNvPr>
            <p:cNvSpPr txBox="1"/>
            <p:nvPr/>
          </p:nvSpPr>
          <p:spPr>
            <a:xfrm>
              <a:off x="1561081" y="1905000"/>
              <a:ext cx="99070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+mn-lt"/>
                  <a:cs typeface="Arial"/>
                </a:rPr>
                <a:t>Project site</a:t>
              </a:r>
            </a:p>
          </p:txBody>
        </p:sp>
        <p:sp>
          <p:nvSpPr>
            <p:cNvPr id="28" name="Textfeld 15">
              <a:extLst>
                <a:ext uri="{FF2B5EF4-FFF2-40B4-BE49-F238E27FC236}">
                  <a16:creationId xmlns:a16="http://schemas.microsoft.com/office/drawing/2014/main" id="{77EC2096-50B8-4F95-BDB5-0B35774F2B84}"/>
                </a:ext>
              </a:extLst>
            </p:cNvPr>
            <p:cNvSpPr txBox="1"/>
            <p:nvPr/>
          </p:nvSpPr>
          <p:spPr>
            <a:xfrm>
              <a:off x="1530422" y="2098840"/>
              <a:ext cx="891110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2F6C"/>
                  </a:solidFill>
                  <a:effectLst/>
                  <a:uLnTx/>
                  <a:uFillTx/>
                  <a:latin typeface="+mn-lt"/>
                  <a:cs typeface="Arial"/>
                </a:rPr>
                <a:t>Selected &amp; pre-developed</a:t>
              </a:r>
            </a:p>
          </p:txBody>
        </p:sp>
      </p:grpSp>
      <p:sp>
        <p:nvSpPr>
          <p:cNvPr id="29" name="Abgerundetes Rechteck 5">
            <a:extLst>
              <a:ext uri="{FF2B5EF4-FFF2-40B4-BE49-F238E27FC236}">
                <a16:creationId xmlns:a16="http://schemas.microsoft.com/office/drawing/2014/main" id="{FDFE7276-B7D7-4856-A2AD-79DE70360B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908440" y="2773477"/>
            <a:ext cx="2089493" cy="1950923"/>
          </a:xfrm>
          <a:prstGeom prst="roundRect">
            <a:avLst/>
          </a:prstGeom>
          <a:noFill/>
          <a:ln w="19050" cap="flat" cmpd="sng" algn="ctr">
            <a:solidFill>
              <a:srgbClr val="002F6C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cs typeface="Arial" pitchFamily="34" charset="0"/>
            </a:endParaRPr>
          </a:p>
        </p:txBody>
      </p:sp>
      <p:sp>
        <p:nvSpPr>
          <p:cNvPr id="30" name="Abgerundetes Rechteck 7">
            <a:extLst>
              <a:ext uri="{FF2B5EF4-FFF2-40B4-BE49-F238E27FC236}">
                <a16:creationId xmlns:a16="http://schemas.microsoft.com/office/drawing/2014/main" id="{4FBCF691-1919-4A12-B3C6-C1EA1096FB5E}"/>
              </a:ext>
            </a:extLst>
          </p:cNvPr>
          <p:cNvSpPr/>
          <p:nvPr/>
        </p:nvSpPr>
        <p:spPr bwMode="auto">
          <a:xfrm>
            <a:off x="6116986" y="3369747"/>
            <a:ext cx="615170" cy="394017"/>
          </a:xfrm>
          <a:prstGeom prst="roundRect">
            <a:avLst/>
          </a:prstGeom>
          <a:solidFill>
            <a:srgbClr val="E8E8E8"/>
          </a:solidFill>
          <a:ln w="9525" cap="flat" cmpd="sng" algn="ctr">
            <a:solidFill>
              <a:srgbClr val="BA0C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15 MW</a:t>
            </a:r>
          </a:p>
        </p:txBody>
      </p:sp>
      <p:sp>
        <p:nvSpPr>
          <p:cNvPr id="31" name="Abgerundetes Rechteck 9">
            <a:extLst>
              <a:ext uri="{FF2B5EF4-FFF2-40B4-BE49-F238E27FC236}">
                <a16:creationId xmlns:a16="http://schemas.microsoft.com/office/drawing/2014/main" id="{260AB102-C0DF-4874-ACA1-E4790DB5678E}"/>
              </a:ext>
            </a:extLst>
          </p:cNvPr>
          <p:cNvSpPr/>
          <p:nvPr/>
        </p:nvSpPr>
        <p:spPr bwMode="auto">
          <a:xfrm>
            <a:off x="6139661" y="3979109"/>
            <a:ext cx="759486" cy="638447"/>
          </a:xfrm>
          <a:prstGeom prst="roundRect">
            <a:avLst/>
          </a:prstGeom>
          <a:solidFill>
            <a:srgbClr val="E8E8E8"/>
          </a:solidFill>
          <a:ln w="9525" cap="flat" cmpd="sng" algn="ctr">
            <a:solidFill>
              <a:srgbClr val="BA0C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30 MW</a:t>
            </a:r>
          </a:p>
        </p:txBody>
      </p:sp>
      <p:sp>
        <p:nvSpPr>
          <p:cNvPr id="32" name="Textfeld 15">
            <a:extLst>
              <a:ext uri="{FF2B5EF4-FFF2-40B4-BE49-F238E27FC236}">
                <a16:creationId xmlns:a16="http://schemas.microsoft.com/office/drawing/2014/main" id="{6C5B4C3B-42FC-4CD7-A2B3-A9E05516152F}"/>
              </a:ext>
            </a:extLst>
          </p:cNvPr>
          <p:cNvSpPr txBox="1"/>
          <p:nvPr/>
        </p:nvSpPr>
        <p:spPr>
          <a:xfrm>
            <a:off x="6258562" y="2784179"/>
            <a:ext cx="129418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dirty="0">
                <a:solidFill>
                  <a:srgbClr val="6C6463"/>
                </a:solidFill>
                <a:latin typeface="+mn-lt"/>
                <a:cs typeface="Arial"/>
              </a:rPr>
              <a:t>Procured volume (e.g. 100 MW)</a:t>
            </a:r>
          </a:p>
        </p:txBody>
      </p:sp>
      <p:sp>
        <p:nvSpPr>
          <p:cNvPr id="33" name="Abgerundetes Rechteck 9">
            <a:extLst>
              <a:ext uri="{FF2B5EF4-FFF2-40B4-BE49-F238E27FC236}">
                <a16:creationId xmlns:a16="http://schemas.microsoft.com/office/drawing/2014/main" id="{3832F6F8-D816-404C-86AA-F4D1B44652C2}"/>
              </a:ext>
            </a:extLst>
          </p:cNvPr>
          <p:cNvSpPr/>
          <p:nvPr/>
        </p:nvSpPr>
        <p:spPr bwMode="auto">
          <a:xfrm>
            <a:off x="7031472" y="3979109"/>
            <a:ext cx="759486" cy="638447"/>
          </a:xfrm>
          <a:prstGeom prst="roundRect">
            <a:avLst/>
          </a:prstGeom>
          <a:solidFill>
            <a:srgbClr val="E8E8E8"/>
          </a:solidFill>
          <a:ln w="9525" cap="flat" cmpd="sng" algn="ctr">
            <a:solidFill>
              <a:srgbClr val="BA0C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30 MW</a:t>
            </a:r>
          </a:p>
        </p:txBody>
      </p:sp>
      <p:sp>
        <p:nvSpPr>
          <p:cNvPr id="34" name="Abgerundetes Rechteck 7">
            <a:extLst>
              <a:ext uri="{FF2B5EF4-FFF2-40B4-BE49-F238E27FC236}">
                <a16:creationId xmlns:a16="http://schemas.microsoft.com/office/drawing/2014/main" id="{68717587-1D71-492C-87D3-6DDDCDB1970D}"/>
              </a:ext>
            </a:extLst>
          </p:cNvPr>
          <p:cNvSpPr/>
          <p:nvPr/>
        </p:nvSpPr>
        <p:spPr bwMode="auto">
          <a:xfrm>
            <a:off x="7054507" y="3261248"/>
            <a:ext cx="615170" cy="611017"/>
          </a:xfrm>
          <a:prstGeom prst="roundRect">
            <a:avLst/>
          </a:prstGeom>
          <a:solidFill>
            <a:srgbClr val="E8E8E8"/>
          </a:solidFill>
          <a:ln w="9525" cap="flat" cmpd="sng" algn="ctr">
            <a:solidFill>
              <a:srgbClr val="BA0C2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25</a:t>
            </a:r>
          </a:p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6C6463"/>
                </a:solidFill>
                <a:effectLst/>
                <a:uLnTx/>
                <a:uFillTx/>
                <a:latin typeface="+mn-lt"/>
                <a:cs typeface="Arial" pitchFamily="34" charset="0"/>
              </a:rPr>
              <a:t>MW</a:t>
            </a:r>
          </a:p>
        </p:txBody>
      </p:sp>
      <p:sp>
        <p:nvSpPr>
          <p:cNvPr id="35" name="Textfeld 31">
            <a:extLst>
              <a:ext uri="{FF2B5EF4-FFF2-40B4-BE49-F238E27FC236}">
                <a16:creationId xmlns:a16="http://schemas.microsoft.com/office/drawing/2014/main" id="{3269DB2B-35F2-4E10-B092-205A74434045}"/>
              </a:ext>
            </a:extLst>
          </p:cNvPr>
          <p:cNvSpPr txBox="1"/>
          <p:nvPr/>
        </p:nvSpPr>
        <p:spPr>
          <a:xfrm>
            <a:off x="8153293" y="3310102"/>
            <a:ext cx="762107" cy="26161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2F6C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Bidder 1</a:t>
            </a:r>
          </a:p>
        </p:txBody>
      </p:sp>
      <p:cxnSp>
        <p:nvCxnSpPr>
          <p:cNvPr id="36" name="Gewinkelte Verbindung 36">
            <a:extLst>
              <a:ext uri="{FF2B5EF4-FFF2-40B4-BE49-F238E27FC236}">
                <a16:creationId xmlns:a16="http://schemas.microsoft.com/office/drawing/2014/main" id="{C3D133C1-B178-4F4E-BD51-DCFD6E33CF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7703194" y="3437838"/>
            <a:ext cx="458413" cy="77282"/>
          </a:xfrm>
          <a:prstGeom prst="bentConnector3">
            <a:avLst>
              <a:gd name="adj1" fmla="val 50000"/>
            </a:avLst>
          </a:prstGeom>
          <a:solidFill>
            <a:srgbClr val="002F6C"/>
          </a:solidFill>
          <a:ln w="19050" cap="flat" cmpd="sng" algn="ctr">
            <a:solidFill>
              <a:srgbClr val="635C5B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7" name="Textfeld 32">
            <a:extLst>
              <a:ext uri="{FF2B5EF4-FFF2-40B4-BE49-F238E27FC236}">
                <a16:creationId xmlns:a16="http://schemas.microsoft.com/office/drawing/2014/main" id="{57B98143-BC40-4F2A-B0A5-979E5EB5E90F}"/>
              </a:ext>
            </a:extLst>
          </p:cNvPr>
          <p:cNvSpPr txBox="1"/>
          <p:nvPr/>
        </p:nvSpPr>
        <p:spPr>
          <a:xfrm>
            <a:off x="4800600" y="3312993"/>
            <a:ext cx="794262" cy="26161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2F6C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Bidder 2</a:t>
            </a:r>
          </a:p>
        </p:txBody>
      </p:sp>
      <p:cxnSp>
        <p:nvCxnSpPr>
          <p:cNvPr id="38" name="Connector: Elbow 37">
            <a:extLst>
              <a:ext uri="{FF2B5EF4-FFF2-40B4-BE49-F238E27FC236}">
                <a16:creationId xmlns:a16="http://schemas.microsoft.com/office/drawing/2014/main" id="{CD08137D-6613-4BF3-A1FA-779877C1EB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37" idx="3"/>
            <a:endCxn id="30" idx="1"/>
          </p:cNvCxnSpPr>
          <p:nvPr/>
        </p:nvCxnSpPr>
        <p:spPr>
          <a:xfrm>
            <a:off x="5594862" y="3443798"/>
            <a:ext cx="522124" cy="122958"/>
          </a:xfrm>
          <a:prstGeom prst="bentConnector3">
            <a:avLst/>
          </a:prstGeom>
          <a:noFill/>
          <a:ln w="19050" cap="flat" cmpd="sng" algn="ctr">
            <a:solidFill>
              <a:srgbClr val="635C5B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39" name="Textfeld 32">
            <a:extLst>
              <a:ext uri="{FF2B5EF4-FFF2-40B4-BE49-F238E27FC236}">
                <a16:creationId xmlns:a16="http://schemas.microsoft.com/office/drawing/2014/main" id="{36AD20EB-961B-4CFE-B554-F542603F062C}"/>
              </a:ext>
            </a:extLst>
          </p:cNvPr>
          <p:cNvSpPr txBox="1"/>
          <p:nvPr/>
        </p:nvSpPr>
        <p:spPr>
          <a:xfrm>
            <a:off x="4800600" y="4038600"/>
            <a:ext cx="794262" cy="26161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2F6C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Bidder 3</a:t>
            </a:r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7A6973DD-066C-4F92-A2F9-CAB3DB2F97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stCxn id="39" idx="3"/>
          </p:cNvCxnSpPr>
          <p:nvPr/>
        </p:nvCxnSpPr>
        <p:spPr>
          <a:xfrm>
            <a:off x="5594862" y="4169405"/>
            <a:ext cx="522124" cy="122958"/>
          </a:xfrm>
          <a:prstGeom prst="bentConnector3">
            <a:avLst/>
          </a:prstGeom>
          <a:noFill/>
          <a:ln w="19050" cap="flat" cmpd="sng" algn="ctr">
            <a:solidFill>
              <a:srgbClr val="635C5B"/>
            </a:solidFill>
            <a:prstDash val="solid"/>
            <a:tailEnd type="triangle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</p:cxnSp>
      <p:sp>
        <p:nvSpPr>
          <p:cNvPr id="41" name="Textfeld 31">
            <a:extLst>
              <a:ext uri="{FF2B5EF4-FFF2-40B4-BE49-F238E27FC236}">
                <a16:creationId xmlns:a16="http://schemas.microsoft.com/office/drawing/2014/main" id="{3FFE6A01-5AFE-4A74-B9DC-A017414F577C}"/>
              </a:ext>
            </a:extLst>
          </p:cNvPr>
          <p:cNvSpPr txBox="1"/>
          <p:nvPr/>
        </p:nvSpPr>
        <p:spPr>
          <a:xfrm>
            <a:off x="8305693" y="4114800"/>
            <a:ext cx="762107" cy="261610"/>
          </a:xfrm>
          <a:prstGeom prst="rect">
            <a:avLst/>
          </a:prstGeom>
          <a:solidFill>
            <a:srgbClr val="FFFFFF"/>
          </a:solidFill>
          <a:ln w="25400" cap="flat" cmpd="sng" algn="ctr">
            <a:solidFill>
              <a:srgbClr val="002F6C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Bidder 4</a:t>
            </a:r>
          </a:p>
        </p:txBody>
      </p:sp>
      <p:cxnSp>
        <p:nvCxnSpPr>
          <p:cNvPr id="42" name="Gewinkelte Verbindung 36">
            <a:extLst>
              <a:ext uri="{FF2B5EF4-FFF2-40B4-BE49-F238E27FC236}">
                <a16:creationId xmlns:a16="http://schemas.microsoft.com/office/drawing/2014/main" id="{56C8ECF0-9CB1-453F-B734-4B28CCBC0A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 rot="10800000" flipV="1">
            <a:off x="7855594" y="4242536"/>
            <a:ext cx="458413" cy="77282"/>
          </a:xfrm>
          <a:prstGeom prst="bentConnector3">
            <a:avLst>
              <a:gd name="adj1" fmla="val 50000"/>
            </a:avLst>
          </a:prstGeom>
          <a:solidFill>
            <a:srgbClr val="002F6C"/>
          </a:solidFill>
          <a:ln w="19050" cap="flat" cmpd="sng" algn="ctr">
            <a:solidFill>
              <a:srgbClr val="635C5B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Textfeld 31">
            <a:extLst>
              <a:ext uri="{FF2B5EF4-FFF2-40B4-BE49-F238E27FC236}">
                <a16:creationId xmlns:a16="http://schemas.microsoft.com/office/drawing/2014/main" id="{6C273132-6D81-486B-AF8B-607C6BAA5864}"/>
              </a:ext>
            </a:extLst>
          </p:cNvPr>
          <p:cNvSpPr txBox="1"/>
          <p:nvPr/>
        </p:nvSpPr>
        <p:spPr>
          <a:xfrm>
            <a:off x="5105400" y="2209800"/>
            <a:ext cx="990707" cy="261610"/>
          </a:xfrm>
          <a:prstGeom prst="rect">
            <a:avLst/>
          </a:prstGeom>
          <a:solidFill>
            <a:srgbClr val="002F6C"/>
          </a:solidFill>
          <a:ln w="25400" cap="flat" cmpd="sng" algn="ctr">
            <a:solidFill>
              <a:srgbClr val="002F6C"/>
            </a:solidFill>
            <a:prstDash val="solid"/>
          </a:ln>
          <a:effectLst/>
        </p:spPr>
        <p:txBody>
          <a:bodyPr wrap="square" rtlCol="0">
            <a:spAutoFit/>
          </a:bodyPr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Auctioneer</a:t>
            </a:r>
          </a:p>
        </p:txBody>
      </p:sp>
      <p:pic>
        <p:nvPicPr>
          <p:cNvPr id="44" name="Graphic 43" descr="Arrow: Clockwise curve">
            <a:extLst>
              <a:ext uri="{FF2B5EF4-FFF2-40B4-BE49-F238E27FC236}">
                <a16:creationId xmlns:a16="http://schemas.microsoft.com/office/drawing/2014/main" id="{9A64E9A9-E096-4313-8A95-B678AC91CFF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8880063">
            <a:off x="6094664" y="2289348"/>
            <a:ext cx="543862" cy="543862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9AD434E5-CAB6-4D69-B9A4-54D3757C3820}"/>
              </a:ext>
            </a:extLst>
          </p:cNvPr>
          <p:cNvSpPr/>
          <p:nvPr/>
        </p:nvSpPr>
        <p:spPr>
          <a:xfrm>
            <a:off x="381000" y="4876800"/>
            <a:ext cx="3954602" cy="338554"/>
          </a:xfrm>
          <a:prstGeom prst="rect">
            <a:avLst/>
          </a:prstGeom>
          <a:solidFill>
            <a:srgbClr val="002A6C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  <a:latin typeface="+mn-lt"/>
              </a:rPr>
              <a:t>Country examples: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47A51688-5D8B-4FFD-BE71-5E97A3F86204}"/>
              </a:ext>
            </a:extLst>
          </p:cNvPr>
          <p:cNvSpPr/>
          <p:nvPr/>
        </p:nvSpPr>
        <p:spPr>
          <a:xfrm>
            <a:off x="381000" y="5207789"/>
            <a:ext cx="3954602" cy="1077218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Senegal’s Scaling Solar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Dubai/Abu Dhabi (UAE)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Morocco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sz="1600" dirty="0">
                <a:latin typeface="+mn-lt"/>
              </a:rPr>
              <a:t>D</a:t>
            </a:r>
            <a:r>
              <a:rPr lang="en-US" sz="1600" dirty="0" err="1">
                <a:latin typeface="+mn-lt"/>
              </a:rPr>
              <a:t>enmark</a:t>
            </a:r>
            <a:r>
              <a:rPr lang="en-US" sz="1600" dirty="0">
                <a:latin typeface="+mn-lt"/>
              </a:rPr>
              <a:t> offshore wind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2EF55D80-2710-4209-9FD6-7A74ADD3B93F}"/>
              </a:ext>
            </a:extLst>
          </p:cNvPr>
          <p:cNvSpPr/>
          <p:nvPr/>
        </p:nvSpPr>
        <p:spPr>
          <a:xfrm>
            <a:off x="4800600" y="4878164"/>
            <a:ext cx="3954602" cy="338554"/>
          </a:xfrm>
          <a:prstGeom prst="rect">
            <a:avLst/>
          </a:prstGeom>
          <a:solidFill>
            <a:srgbClr val="002A6C"/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dirty="0">
                <a:solidFill>
                  <a:srgbClr val="FFFFFF"/>
                </a:solidFill>
                <a:latin typeface="+mn-lt"/>
              </a:rPr>
              <a:t>Country examples: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7762A4D0-20D5-49FD-96B0-5CF378E923E3}"/>
              </a:ext>
            </a:extLst>
          </p:cNvPr>
          <p:cNvSpPr/>
          <p:nvPr/>
        </p:nvSpPr>
        <p:spPr>
          <a:xfrm>
            <a:off x="4800600" y="5209153"/>
            <a:ext cx="3954602" cy="1569660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Tanzania onshore wind and solar procurement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South Africa (with easier project development in Renewable Energy Development Zones - REDZ)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n-lt"/>
              </a:rPr>
              <a:t>Mexico, Chile </a:t>
            </a:r>
          </a:p>
        </p:txBody>
      </p:sp>
    </p:spTree>
    <p:extLst>
      <p:ext uri="{BB962C8B-B14F-4D97-AF65-F5344CB8AC3E}">
        <p14:creationId xmlns:p14="http://schemas.microsoft.com/office/powerpoint/2010/main" val="273484024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7772400" cy="457200"/>
          </a:xfrm>
        </p:spPr>
        <p:txBody>
          <a:bodyPr/>
          <a:lstStyle/>
          <a:p>
            <a:pPr lvl="0" algn="ctr"/>
            <a:r>
              <a:rPr lang="en-US" dirty="0"/>
              <a:t>Ceiling prices control costs and generate market signals, but setting is a challeng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5DEC91-2642-4057-B1E5-EA1CCDCC5B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768493" y="4562270"/>
            <a:ext cx="103949" cy="631242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761B9D-6769-4F9E-8667-89CF39281973}"/>
              </a:ext>
            </a:extLst>
          </p:cNvPr>
          <p:cNvSpPr txBox="1"/>
          <p:nvPr/>
        </p:nvSpPr>
        <p:spPr>
          <a:xfrm>
            <a:off x="2014851" y="5756164"/>
            <a:ext cx="1529586" cy="6554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>
              <a:lnSpc>
                <a:spcPct val="150000"/>
              </a:lnSpc>
              <a:defRPr b="0">
                <a:solidFill>
                  <a:srgbClr val="000000"/>
                </a:solidFill>
                <a:latin typeface="Calibri" panose="020F0502020204030204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Successful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bids</a:t>
            </a:r>
          </a:p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Unsuccessful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bi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8E4287-98E8-44BB-BCF4-0CD36ADEA7A3}"/>
              </a:ext>
            </a:extLst>
          </p:cNvPr>
          <p:cNvSpPr txBox="1"/>
          <p:nvPr/>
        </p:nvSpPr>
        <p:spPr>
          <a:xfrm>
            <a:off x="3646794" y="5176119"/>
            <a:ext cx="775020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r">
              <a:lnSpc>
                <a:spcPct val="100000"/>
              </a:lnSpc>
              <a:defRPr>
                <a:solidFill>
                  <a:srgbClr val="000000"/>
                </a:solidFill>
                <a:latin typeface="Calibri" panose="020F0502020204030204"/>
                <a:cs typeface="+mn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Volume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in MW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F6DDD3-7723-42E0-8649-FC25B5287633}"/>
              </a:ext>
            </a:extLst>
          </p:cNvPr>
          <p:cNvSpPr txBox="1"/>
          <p:nvPr/>
        </p:nvSpPr>
        <p:spPr>
          <a:xfrm>
            <a:off x="622244" y="2749572"/>
            <a:ext cx="115127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r">
              <a:lnSpc>
                <a:spcPct val="100000"/>
              </a:lnSpc>
              <a:defRPr>
                <a:solidFill>
                  <a:srgbClr val="000000"/>
                </a:solidFill>
                <a:latin typeface="Calibri" panose="020F0502020204030204"/>
                <a:cs typeface="+mn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Price 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in Cent/kWh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42E23DF-052A-4F03-8577-6C7FD8B6F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auto">
          <a:xfrm flipH="1">
            <a:off x="1760130" y="5369187"/>
            <a:ext cx="1622124" cy="13117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chemeClr val="accent5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A069919-BD44-4633-8BFB-38D604EB1712}"/>
              </a:ext>
            </a:extLst>
          </p:cNvPr>
          <p:cNvSpPr txBox="1"/>
          <p:nvPr/>
        </p:nvSpPr>
        <p:spPr>
          <a:xfrm>
            <a:off x="1856094" y="5354114"/>
            <a:ext cx="1430199" cy="3322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1" u="none" strike="noStrike" kern="1200" cap="none" spc="0" normalizeH="0" baseline="0" noProof="0" dirty="0">
                <a:ln>
                  <a:noFill/>
                </a:ln>
                <a:solidFill>
                  <a:srgbClr val="C60C3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Defined</a:t>
            </a:r>
            <a:r>
              <a:rPr kumimoji="0" lang="de-DE" sz="1300" b="1" i="1" u="none" strike="noStrike" kern="1200" cap="none" spc="0" normalizeH="0" baseline="0" noProof="0" dirty="0">
                <a:ln>
                  <a:noFill/>
                </a:ln>
                <a:solidFill>
                  <a:srgbClr val="C60C3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 </a:t>
            </a:r>
            <a:r>
              <a:rPr kumimoji="0" lang="en-US" sz="1300" b="1" i="1" u="none" strike="noStrike" kern="1200" cap="none" spc="0" normalizeH="0" baseline="0" noProof="0" dirty="0">
                <a:ln>
                  <a:noFill/>
                </a:ln>
                <a:solidFill>
                  <a:srgbClr val="C60C3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volum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D3FD29-9B84-4631-9467-3BDBF7ECE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871853" y="4510986"/>
            <a:ext cx="84983" cy="685602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EBDD77-5FB4-4466-95B1-D02C84867A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54917" y="4510725"/>
            <a:ext cx="435710" cy="685602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CB2287-37A0-476E-A17E-B142D4EDB5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406343" y="3951645"/>
            <a:ext cx="72875" cy="1243385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201D73-557C-486F-A827-D3155DD7C3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479986" y="3932355"/>
            <a:ext cx="389432" cy="1265445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71066E-BFC3-4165-B1B9-66DFD754D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868335" y="3907722"/>
            <a:ext cx="201327" cy="1290078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FD705A8-87A1-49EC-A5C4-7B8162F65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88841" y="3665440"/>
            <a:ext cx="294830" cy="1531229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E05E73-72A1-4B28-ADEB-05467511D0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387906" y="3551403"/>
            <a:ext cx="247753" cy="164639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AFD4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B0169AF-394C-4ACD-955C-EEB8BCD06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637075" y="3416504"/>
            <a:ext cx="211053" cy="176632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AFD4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CEDC0D-ADEE-47AF-9551-E2ED9E1298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auto">
          <a:xfrm flipH="1">
            <a:off x="3382254" y="3097599"/>
            <a:ext cx="1" cy="2093556"/>
          </a:xfrm>
          <a:prstGeom prst="line">
            <a:avLst/>
          </a:prstGeom>
          <a:ln w="19050">
            <a:headEnd type="none" w="med" len="med"/>
            <a:tailEnd type="none" w="med" len="med"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68B402F7-4C5D-42DC-9DC0-4680AEE126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779379" y="6189092"/>
            <a:ext cx="214552" cy="16288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AFD4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4DB0D5A-99E6-427F-844C-B279AB8E0F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779379" y="5894614"/>
            <a:ext cx="214552" cy="162885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51DBF4F-49FC-45DA-91A5-11A581FCD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auto">
          <a:xfrm flipV="1">
            <a:off x="1751768" y="5177865"/>
            <a:ext cx="2554848" cy="22295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3656F96-D9C5-4864-B2FD-4FB5EAB717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auto">
          <a:xfrm flipV="1">
            <a:off x="1752600" y="3086215"/>
            <a:ext cx="0" cy="2131309"/>
          </a:xfrm>
          <a:prstGeom prst="straightConnector1">
            <a:avLst/>
          </a:prstGeom>
          <a:solidFill>
            <a:srgbClr val="44546A"/>
          </a:solidFill>
          <a:ln w="190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F450A90-7D80-401D-AA50-984BD57ED2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>
            <a:off x="1745633" y="3886035"/>
            <a:ext cx="239905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C3DFDFD1-57C0-4018-B088-9C4F83431DB1}"/>
              </a:ext>
            </a:extLst>
          </p:cNvPr>
          <p:cNvSpPr txBox="1"/>
          <p:nvPr/>
        </p:nvSpPr>
        <p:spPr>
          <a:xfrm>
            <a:off x="50507" y="3530622"/>
            <a:ext cx="1635384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r">
              <a:lnSpc>
                <a:spcPct val="100000"/>
              </a:lnSpc>
              <a:defRPr>
                <a:solidFill>
                  <a:srgbClr val="000000"/>
                </a:solidFill>
                <a:latin typeface="Calibri" panose="020F0502020204030204"/>
                <a:cs typeface="+mn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Ceiling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price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(e.g. LCOE-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base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)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E803EF2-058F-49DD-BE08-BB3A0CE57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75313" y="3658249"/>
            <a:ext cx="294830" cy="1531229"/>
          </a:xfrm>
          <a:prstGeom prst="rect">
            <a:avLst/>
          </a:prstGeom>
          <a:noFill/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grpSp>
        <p:nvGrpSpPr>
          <p:cNvPr id="27" name="Group 26" descr="Ceiling prices: relevance and calculation: Relevance:&#10;Control over maximum costs&#10;Create price signal for market&#10;&#10;Disadvantage:&#10;Could signal lack of competition&#10;Ceiling difficult to set if little information&#10;&#10;Calculation: &#10;LCOE + margin to cover bid risk&#10;If applicable: previous feed-in tariff&#10;Cash-flow model analysis&#10;Adapt based on experience">
            <a:extLst>
              <a:ext uri="{FF2B5EF4-FFF2-40B4-BE49-F238E27FC236}">
                <a16:creationId xmlns:a16="http://schemas.microsoft.com/office/drawing/2014/main" id="{B440D16C-98D1-42B3-874E-F798A7AF8912}"/>
              </a:ext>
            </a:extLst>
          </p:cNvPr>
          <p:cNvGrpSpPr/>
          <p:nvPr/>
        </p:nvGrpSpPr>
        <p:grpSpPr>
          <a:xfrm>
            <a:off x="4810619" y="2400134"/>
            <a:ext cx="3915587" cy="4229266"/>
            <a:chOff x="5029200" y="5382466"/>
            <a:chExt cx="1885049" cy="4676495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BB7651D-0FAD-4847-8C60-81A10F1D4F97}"/>
                </a:ext>
              </a:extLst>
            </p:cNvPr>
            <p:cNvSpPr/>
            <p:nvPr/>
          </p:nvSpPr>
          <p:spPr>
            <a:xfrm>
              <a:off x="5029200" y="5382466"/>
              <a:ext cx="1875228" cy="681989"/>
            </a:xfrm>
            <a:prstGeom prst="rect">
              <a:avLst/>
            </a:prstGeom>
            <a:solidFill>
              <a:srgbClr val="002A6C"/>
            </a:solidFill>
            <a:ln>
              <a:solidFill>
                <a:schemeClr val="tx2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Ceiling prices: relevance and calculation</a:t>
              </a:r>
            </a:p>
          </p:txBody>
        </p:sp>
        <p:sp>
          <p:nvSpPr>
            <p:cNvPr id="30" name="Rectangle 29" descr="&#10;">
              <a:extLst>
                <a:ext uri="{FF2B5EF4-FFF2-40B4-BE49-F238E27FC236}">
                  <a16:creationId xmlns:a16="http://schemas.microsoft.com/office/drawing/2014/main" id="{0428D8ED-00A8-426C-89F1-C72C461865DE}"/>
                </a:ext>
              </a:extLst>
            </p:cNvPr>
            <p:cNvSpPr/>
            <p:nvPr/>
          </p:nvSpPr>
          <p:spPr>
            <a:xfrm>
              <a:off x="5033099" y="6064455"/>
              <a:ext cx="1881150" cy="3994506"/>
            </a:xfrm>
            <a:prstGeom prst="rect">
              <a:avLst/>
            </a:prstGeom>
            <a:ln>
              <a:solidFill>
                <a:schemeClr val="tx2"/>
              </a:solidFill>
            </a:ln>
          </p:spPr>
          <p:txBody>
            <a:bodyPr wrap="square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Relevance: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Control over maximum costs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Create price signal for market</a:t>
              </a:r>
            </a:p>
            <a:p>
              <a:pPr marL="171450" marR="0" lvl="0" indent="-1714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isadvantage: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Could signal lack of competition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+mj-lt"/>
                  <a:ea typeface="+mn-ea"/>
                  <a:cs typeface="+mn-cs"/>
                </a:rPr>
                <a:t>Ceiling difficult to set if little information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  <a:p>
              <a:pPr lvl="0" defTabSz="4572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Calculation: </a:t>
              </a:r>
            </a:p>
            <a:p>
              <a:pPr marL="171450" lvl="0" indent="-171450" defTabSz="4572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LCOE + margin to cover bid risk</a:t>
              </a:r>
            </a:p>
            <a:p>
              <a:pPr marL="171450" lvl="0" indent="-171450" defTabSz="4572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If applicable: previous feed-in tariff</a:t>
              </a:r>
            </a:p>
            <a:p>
              <a:pPr marL="171450" lvl="0" indent="-171450" defTabSz="4572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Cash-flow model analysis</a:t>
              </a:r>
            </a:p>
            <a:p>
              <a:pPr marL="171450" lvl="0" indent="-171450" defTabSz="4572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Adapt based on experience</a:t>
              </a:r>
            </a:p>
            <a:p>
              <a:pPr marL="285750" marR="0" lvl="0" indent="-28575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45192074-C989-404A-8DD9-39D0274AC5DE}"/>
              </a:ext>
            </a:extLst>
          </p:cNvPr>
          <p:cNvSpPr txBox="1">
            <a:spLocks/>
          </p:cNvSpPr>
          <p:nvPr/>
        </p:nvSpPr>
        <p:spPr>
          <a:xfrm>
            <a:off x="6858000" y="6520934"/>
            <a:ext cx="2133600" cy="18466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9pPr>
          </a:lstStyle>
          <a:p>
            <a:pPr algn="r" defTabSz="457200" eaLnBrk="1" fontAlgn="auto" hangingPunct="1">
              <a:spcBef>
                <a:spcPts val="0"/>
              </a:spcBef>
              <a:spcAft>
                <a:spcPts val="0"/>
              </a:spcAft>
            </a:pPr>
            <a:fld id="{42782948-4DBE-204D-AB9E-B65E067054AE}" type="slidenum">
              <a:rPr lang="en-US" sz="600" smtClean="0">
                <a:solidFill>
                  <a:srgbClr val="6C6463"/>
                </a:solidFill>
                <a:latin typeface="+mj-lt"/>
              </a:rPr>
              <a:pPr algn="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t>12</a:t>
            </a:fld>
            <a:endParaRPr lang="en-US" sz="600" dirty="0">
              <a:solidFill>
                <a:srgbClr val="6C6463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56073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7772400" cy="457200"/>
          </a:xfrm>
        </p:spPr>
        <p:txBody>
          <a:bodyPr/>
          <a:lstStyle/>
          <a:p>
            <a:pPr lvl="0" algn="ctr"/>
            <a:r>
              <a:rPr lang="en-US" dirty="0"/>
              <a:t>Most countries disclose ceiling price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F5DEC91-2642-4057-B1E5-EA1CCDCC5B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768493" y="4297747"/>
            <a:ext cx="103949" cy="631242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761B9D-6769-4F9E-8667-89CF39281973}"/>
              </a:ext>
            </a:extLst>
          </p:cNvPr>
          <p:cNvSpPr txBox="1"/>
          <p:nvPr/>
        </p:nvSpPr>
        <p:spPr>
          <a:xfrm>
            <a:off x="2014851" y="5491641"/>
            <a:ext cx="1529586" cy="65543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>
              <a:lnSpc>
                <a:spcPct val="150000"/>
              </a:lnSpc>
              <a:defRPr b="0">
                <a:solidFill>
                  <a:srgbClr val="000000"/>
                </a:solidFill>
                <a:latin typeface="Calibri" panose="020F0502020204030204"/>
                <a:cs typeface="+mn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Successful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bids</a:t>
            </a:r>
          </a:p>
          <a:p>
            <a:pPr marL="0" marR="0" lvl="0" indent="0" algn="l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Unsuccessful</a:t>
            </a:r>
            <a:r>
              <a:rPr kumimoji="0" lang="de-DE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bi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18E4287-98E8-44BB-BCF4-0CD36ADEA7A3}"/>
              </a:ext>
            </a:extLst>
          </p:cNvPr>
          <p:cNvSpPr txBox="1"/>
          <p:nvPr/>
        </p:nvSpPr>
        <p:spPr>
          <a:xfrm>
            <a:off x="3646794" y="4911596"/>
            <a:ext cx="775020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r">
              <a:lnSpc>
                <a:spcPct val="100000"/>
              </a:lnSpc>
              <a:defRPr>
                <a:solidFill>
                  <a:srgbClr val="000000"/>
                </a:solidFill>
                <a:latin typeface="Calibri" panose="020F0502020204030204"/>
                <a:cs typeface="+mn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Volume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in MW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F6DDD3-7723-42E0-8649-FC25B5287633}"/>
              </a:ext>
            </a:extLst>
          </p:cNvPr>
          <p:cNvSpPr txBox="1"/>
          <p:nvPr/>
        </p:nvSpPr>
        <p:spPr>
          <a:xfrm>
            <a:off x="622244" y="2485049"/>
            <a:ext cx="1151277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r">
              <a:lnSpc>
                <a:spcPct val="100000"/>
              </a:lnSpc>
              <a:defRPr>
                <a:solidFill>
                  <a:srgbClr val="000000"/>
                </a:solidFill>
                <a:latin typeface="Calibri" panose="020F0502020204030204"/>
                <a:cs typeface="+mn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Price 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in Cent/kWh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42E23DF-052A-4F03-8577-6C7FD8B6F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auto">
          <a:xfrm flipH="1">
            <a:off x="1760130" y="5104664"/>
            <a:ext cx="1622124" cy="13117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chemeClr val="accent5"/>
            </a:solidFill>
            <a:prstDash val="solid"/>
            <a:round/>
            <a:headEnd type="triangle" w="med" len="med"/>
            <a:tailEnd type="triangl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6A069919-BD44-4633-8BFB-38D604EB1712}"/>
              </a:ext>
            </a:extLst>
          </p:cNvPr>
          <p:cNvSpPr txBox="1"/>
          <p:nvPr/>
        </p:nvSpPr>
        <p:spPr>
          <a:xfrm>
            <a:off x="1856094" y="5089591"/>
            <a:ext cx="1430199" cy="33227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1" u="none" strike="noStrike" kern="1200" cap="none" spc="0" normalizeH="0" baseline="0" noProof="0" dirty="0">
                <a:ln>
                  <a:noFill/>
                </a:ln>
                <a:solidFill>
                  <a:srgbClr val="C60C3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Defined</a:t>
            </a:r>
            <a:r>
              <a:rPr kumimoji="0" lang="de-DE" sz="1300" b="1" i="1" u="none" strike="noStrike" kern="1200" cap="none" spc="0" normalizeH="0" baseline="0" noProof="0" dirty="0">
                <a:ln>
                  <a:noFill/>
                </a:ln>
                <a:solidFill>
                  <a:srgbClr val="C60C3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 </a:t>
            </a:r>
            <a:r>
              <a:rPr kumimoji="0" lang="en-US" sz="1300" b="1" i="1" u="none" strike="noStrike" kern="1200" cap="none" spc="0" normalizeH="0" baseline="0" noProof="0" dirty="0">
                <a:ln>
                  <a:noFill/>
                </a:ln>
                <a:solidFill>
                  <a:srgbClr val="C60C30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volum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1D3FD29-9B84-4631-9467-3BDBF7ECE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871853" y="4246463"/>
            <a:ext cx="84983" cy="685602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5EBDD77-5FB4-4466-95B1-D02C84867A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954917" y="4246202"/>
            <a:ext cx="435710" cy="685602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CB2287-37A0-476E-A17E-B142D4EDB5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406343" y="3687122"/>
            <a:ext cx="72875" cy="1243385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201D73-557C-486F-A827-D3155DD7C3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479986" y="3667832"/>
            <a:ext cx="389432" cy="1265445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271066E-BFC3-4165-B1B9-66DFD754D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868335" y="3643199"/>
            <a:ext cx="201327" cy="1290078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FD705A8-87A1-49EC-A5C4-7B8162F657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88841" y="3400917"/>
            <a:ext cx="294830" cy="1531229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2E05E73-72A1-4B28-ADEB-05467511D0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387906" y="3286880"/>
            <a:ext cx="247753" cy="164639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AFD4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B0169AF-394C-4ACD-955C-EEB8BCD06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637075" y="3151981"/>
            <a:ext cx="211053" cy="1766322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AFD4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BCEDC0D-ADEE-47AF-9551-E2ED9E1298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auto">
          <a:xfrm flipH="1">
            <a:off x="3382254" y="2833076"/>
            <a:ext cx="1" cy="2093556"/>
          </a:xfrm>
          <a:prstGeom prst="line">
            <a:avLst/>
          </a:prstGeom>
          <a:ln w="19050">
            <a:headEnd type="none" w="med" len="med"/>
            <a:tailEnd type="none" w="med" len="med"/>
          </a:ln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68B402F7-4C5D-42DC-9DC0-4680AEE126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779379" y="5924569"/>
            <a:ext cx="214552" cy="16288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AFD4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4DB0D5A-99E6-427F-844C-B279AB8E0F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779379" y="5630091"/>
            <a:ext cx="214552" cy="162885"/>
          </a:xfrm>
          <a:prstGeom prst="rect">
            <a:avLst/>
          </a:prstGeom>
          <a:solidFill>
            <a:srgbClr val="AFD466"/>
          </a:solidFill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51DBF4F-49FC-45DA-91A5-11A581FCD8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auto">
          <a:xfrm flipV="1">
            <a:off x="1751768" y="4913342"/>
            <a:ext cx="2554848" cy="22295"/>
          </a:xfrm>
          <a:prstGeom prst="straightConnector1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33656F96-D9C5-4864-B2FD-4FB5EAB717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 bwMode="auto">
          <a:xfrm flipV="1">
            <a:off x="1752600" y="2821692"/>
            <a:ext cx="0" cy="2131309"/>
          </a:xfrm>
          <a:prstGeom prst="straightConnector1">
            <a:avLst/>
          </a:prstGeom>
          <a:solidFill>
            <a:srgbClr val="44546A"/>
          </a:solidFill>
          <a:ln w="1905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F450A90-7D80-401D-AA50-984BD57ED2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 bwMode="auto">
          <a:xfrm>
            <a:off x="1745633" y="3621512"/>
            <a:ext cx="2399052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C3DFDFD1-57C0-4018-B088-9C4F83431DB1}"/>
              </a:ext>
            </a:extLst>
          </p:cNvPr>
          <p:cNvSpPr txBox="1"/>
          <p:nvPr/>
        </p:nvSpPr>
        <p:spPr>
          <a:xfrm>
            <a:off x="50507" y="3266099"/>
            <a:ext cx="1635384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r">
              <a:lnSpc>
                <a:spcPct val="100000"/>
              </a:lnSpc>
              <a:defRPr>
                <a:solidFill>
                  <a:srgbClr val="000000"/>
                </a:solidFill>
                <a:latin typeface="Calibri" panose="020F0502020204030204"/>
                <a:cs typeface="+mn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Ceiling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price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(e.g. LCOE-</a:t>
            </a:r>
            <a:r>
              <a:rPr kumimoji="0" lang="en-US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based</a:t>
            </a:r>
            <a:r>
              <a:rPr kumimoji="0" lang="de-DE" sz="13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)</a:t>
            </a: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E803EF2-058F-49DD-BE08-BB3A0CE571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075313" y="3393726"/>
            <a:ext cx="294830" cy="1531229"/>
          </a:xfrm>
          <a:prstGeom prst="rect">
            <a:avLst/>
          </a:prstGeom>
          <a:noFill/>
          <a:ln w="9525" cap="flat" cmpd="sng" algn="ctr">
            <a:solidFill>
              <a:srgbClr val="7AB8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+mn-ea"/>
              <a:cs typeface="Arial" charset="0"/>
            </a:endParaRPr>
          </a:p>
        </p:txBody>
      </p:sp>
      <p:grpSp>
        <p:nvGrpSpPr>
          <p:cNvPr id="27" name="Group 26" descr="Disclosing ceiling price: Benefits:&#10;Helps prevent projects from being rejected in the auction.&#10;Gives bidders more planning security (sunk costs).&#10;Disadvantages:&#10;Bids close to ceiling price if low competition&#10;">
            <a:extLst>
              <a:ext uri="{FF2B5EF4-FFF2-40B4-BE49-F238E27FC236}">
                <a16:creationId xmlns:a16="http://schemas.microsoft.com/office/drawing/2014/main" id="{B440D16C-98D1-42B3-874E-F798A7AF8912}"/>
              </a:ext>
            </a:extLst>
          </p:cNvPr>
          <p:cNvGrpSpPr/>
          <p:nvPr/>
        </p:nvGrpSpPr>
        <p:grpSpPr>
          <a:xfrm>
            <a:off x="4810619" y="2057399"/>
            <a:ext cx="3915587" cy="2443104"/>
            <a:chOff x="5029200" y="5382466"/>
            <a:chExt cx="1885049" cy="2577890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BB7651D-0FAD-4847-8C60-81A10F1D4F97}"/>
                </a:ext>
              </a:extLst>
            </p:cNvPr>
            <p:cNvSpPr/>
            <p:nvPr/>
          </p:nvSpPr>
          <p:spPr>
            <a:xfrm>
              <a:off x="5029200" y="5382466"/>
              <a:ext cx="1875228" cy="389708"/>
            </a:xfrm>
            <a:prstGeom prst="rect">
              <a:avLst/>
            </a:prstGeom>
            <a:solidFill>
              <a:srgbClr val="002A6C"/>
            </a:solidFill>
            <a:ln>
              <a:solidFill>
                <a:schemeClr val="tx2"/>
              </a:solidFill>
            </a:ln>
          </p:spPr>
          <p:txBody>
            <a:bodyPr wrap="square">
              <a:spAutoFit/>
            </a:bodyPr>
            <a:lstStyle/>
            <a:p>
              <a:pPr lvl="0" algn="ct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800" dirty="0">
                  <a:solidFill>
                    <a:schemeClr val="bg1"/>
                  </a:solidFill>
                  <a:latin typeface="+mj-lt"/>
                </a:rPr>
                <a:t>Disclosing ceiling price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0428D8ED-00A8-426C-89F1-C72C461865DE}"/>
                </a:ext>
              </a:extLst>
            </p:cNvPr>
            <p:cNvSpPr/>
            <p:nvPr/>
          </p:nvSpPr>
          <p:spPr>
            <a:xfrm>
              <a:off x="5033099" y="5784487"/>
              <a:ext cx="1881150" cy="2175869"/>
            </a:xfrm>
            <a:prstGeom prst="rect">
              <a:avLst/>
            </a:prstGeom>
            <a:ln>
              <a:solidFill>
                <a:schemeClr val="tx2"/>
              </a:solidFill>
            </a:ln>
          </p:spPr>
          <p:txBody>
            <a:bodyPr wrap="square">
              <a:spAutoFit/>
            </a:bodyPr>
            <a:lstStyle/>
            <a:p>
              <a:pPr lvl="0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>
                  <a:solidFill>
                    <a:srgbClr val="00B050"/>
                  </a:solidFill>
                  <a:latin typeface="Arial"/>
                </a:rPr>
                <a:t>Benefits:</a:t>
              </a:r>
            </a:p>
            <a:p>
              <a:pPr marL="285750" lvl="0" indent="-285750" defTabSz="4572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Helps prevent projects from being rejected in the auction.</a:t>
              </a:r>
            </a:p>
            <a:p>
              <a:pPr marL="285750" lvl="0" indent="-285750" defTabSz="4572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Gives bidders more planning security (sunk costs).</a:t>
              </a:r>
            </a:p>
            <a:p>
              <a:pPr lvl="0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600" b="1" dirty="0">
                  <a:solidFill>
                    <a:srgbClr val="C00000"/>
                  </a:solidFill>
                  <a:latin typeface="Arial"/>
                </a:rPr>
                <a:t>Disadvantages:</a:t>
              </a:r>
            </a:p>
            <a:p>
              <a:pPr marL="285750" lvl="0" indent="-285750" defTabSz="457200" eaLnBrk="1" fontAlgn="auto" hangingPunct="1"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1600" dirty="0">
                  <a:solidFill>
                    <a:srgbClr val="000000"/>
                  </a:solidFill>
                  <a:latin typeface="Arial"/>
                </a:rPr>
                <a:t>Bids close to ceiling price if low competition</a:t>
              </a:r>
            </a:p>
          </p:txBody>
        </p:sp>
      </p:grpSp>
      <p:sp>
        <p:nvSpPr>
          <p:cNvPr id="31" name="Slide Number Placeholder 3">
            <a:extLst>
              <a:ext uri="{FF2B5EF4-FFF2-40B4-BE49-F238E27FC236}">
                <a16:creationId xmlns:a16="http://schemas.microsoft.com/office/drawing/2014/main" id="{45192074-C989-404A-8DD9-39D0274AC5DE}"/>
              </a:ext>
            </a:extLst>
          </p:cNvPr>
          <p:cNvSpPr txBox="1">
            <a:spLocks/>
          </p:cNvSpPr>
          <p:nvPr/>
        </p:nvSpPr>
        <p:spPr>
          <a:xfrm>
            <a:off x="6858000" y="6444734"/>
            <a:ext cx="2133600" cy="184666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800" kern="1200">
                <a:solidFill>
                  <a:schemeClr val="tx1"/>
                </a:solidFill>
                <a:latin typeface="Times" panose="02020603050405020304" pitchFamily="18" charset="0"/>
                <a:ea typeface="+mn-ea"/>
                <a:cs typeface="+mn-cs"/>
              </a:defRPr>
            </a:lvl9pPr>
          </a:lstStyle>
          <a:p>
            <a:pPr algn="r" defTabSz="457200" eaLnBrk="1" fontAlgn="auto" hangingPunct="1">
              <a:spcBef>
                <a:spcPts val="0"/>
              </a:spcBef>
              <a:spcAft>
                <a:spcPts val="0"/>
              </a:spcAft>
            </a:pPr>
            <a:fld id="{42782948-4DBE-204D-AB9E-B65E067054AE}" type="slidenum">
              <a:rPr lang="en-US" sz="600" smtClean="0">
                <a:solidFill>
                  <a:srgbClr val="6C6463"/>
                </a:solidFill>
                <a:latin typeface="+mj-lt"/>
              </a:rPr>
              <a:pPr algn="r"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t>13</a:t>
            </a:fld>
            <a:endParaRPr lang="en-US" sz="600" dirty="0">
              <a:solidFill>
                <a:srgbClr val="6C6463"/>
              </a:solidFill>
              <a:latin typeface="+mj-lt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4F4641F-571B-4752-8752-56320CFD85B8}"/>
              </a:ext>
            </a:extLst>
          </p:cNvPr>
          <p:cNvSpPr/>
          <p:nvPr/>
        </p:nvSpPr>
        <p:spPr>
          <a:xfrm>
            <a:off x="4802494" y="4980296"/>
            <a:ext cx="3923711" cy="1569660"/>
          </a:xfrm>
          <a:prstGeom prst="rect">
            <a:avLst/>
          </a:prstGeom>
          <a:ln>
            <a:solidFill>
              <a:schemeClr val="tx2"/>
            </a:solidFill>
          </a:ln>
        </p:spPr>
        <p:txBody>
          <a:bodyPr wrap="square">
            <a:spAutoFit/>
          </a:bodyPr>
          <a:lstStyle/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latin typeface="+mj-lt"/>
              </a:rPr>
              <a:t>Undisclosed ceiling price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South Africa, Peru (rounds 1-3)</a:t>
            </a:r>
          </a:p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latin typeface="+mj-lt"/>
              </a:rPr>
              <a:t>Disclosed ceiling price</a:t>
            </a:r>
          </a:p>
          <a:p>
            <a:pPr marL="285750" indent="-285750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+mj-lt"/>
              </a:rPr>
              <a:t>Brazil (combined with undisclosed auction volume), Mexico, India, Peru (round 4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8004C6C-03DD-4152-BF62-541128A8B224}"/>
              </a:ext>
            </a:extLst>
          </p:cNvPr>
          <p:cNvSpPr/>
          <p:nvPr/>
        </p:nvSpPr>
        <p:spPr>
          <a:xfrm>
            <a:off x="4800600" y="4646190"/>
            <a:ext cx="3942379" cy="369332"/>
          </a:xfrm>
          <a:prstGeom prst="rect">
            <a:avLst/>
          </a:prstGeom>
          <a:solidFill>
            <a:srgbClr val="C2113A"/>
          </a:solidFill>
          <a:ln>
            <a:solidFill>
              <a:srgbClr val="E10040"/>
            </a:solidFill>
          </a:ln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Country examples</a:t>
            </a:r>
          </a:p>
        </p:txBody>
      </p:sp>
    </p:spTree>
    <p:extLst>
      <p:ext uri="{BB962C8B-B14F-4D97-AF65-F5344CB8AC3E}">
        <p14:creationId xmlns:p14="http://schemas.microsoft.com/office/powerpoint/2010/main" val="15091548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25" grpId="0"/>
      <p:bldP spid="3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371600"/>
            <a:ext cx="8125800" cy="457200"/>
          </a:xfrm>
        </p:spPr>
        <p:txBody>
          <a:bodyPr/>
          <a:lstStyle/>
          <a:p>
            <a:pPr lvl="0" algn="ctr"/>
            <a:r>
              <a:rPr lang="en-US" dirty="0"/>
              <a:t>Technical requirements and financial guarantees ensure quality of projects in auction</a:t>
            </a:r>
          </a:p>
        </p:txBody>
      </p:sp>
      <p:grpSp>
        <p:nvGrpSpPr>
          <p:cNvPr id="7" name="Group 6" descr="Arrow chart, from left to right, depicting linear flow from planning to approval process to construction to operation, with red bars between each step">
            <a:extLst>
              <a:ext uri="{FF2B5EF4-FFF2-40B4-BE49-F238E27FC236}">
                <a16:creationId xmlns:a16="http://schemas.microsoft.com/office/drawing/2014/main" id="{84024A1C-4982-445A-A41D-D184CC1B160E}"/>
              </a:ext>
            </a:extLst>
          </p:cNvPr>
          <p:cNvGrpSpPr/>
          <p:nvPr/>
        </p:nvGrpSpPr>
        <p:grpSpPr>
          <a:xfrm>
            <a:off x="277200" y="2419048"/>
            <a:ext cx="8632340" cy="582652"/>
            <a:chOff x="2726351" y="3229470"/>
            <a:chExt cx="3691298" cy="399059"/>
          </a:xfrm>
          <a:solidFill>
            <a:srgbClr val="002F6C"/>
          </a:solidFill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C376419-874A-4316-B088-96F2EF6A0102}"/>
                </a:ext>
              </a:extLst>
            </p:cNvPr>
            <p:cNvGrpSpPr/>
            <p:nvPr/>
          </p:nvGrpSpPr>
          <p:grpSpPr>
            <a:xfrm>
              <a:off x="2726351" y="3229470"/>
              <a:ext cx="997648" cy="399059"/>
              <a:chOff x="1713" y="220150"/>
              <a:chExt cx="997648" cy="399059"/>
            </a:xfrm>
            <a:grpFill/>
          </p:grpSpPr>
          <p:sp>
            <p:nvSpPr>
              <p:cNvPr id="18" name="Arrow: Chevron 17">
                <a:extLst>
                  <a:ext uri="{FF2B5EF4-FFF2-40B4-BE49-F238E27FC236}">
                    <a16:creationId xmlns:a16="http://schemas.microsoft.com/office/drawing/2014/main" id="{C7D6848B-F908-4AB4-9EA6-59B1319DE206}"/>
                  </a:ext>
                </a:extLst>
              </p:cNvPr>
              <p:cNvSpPr/>
              <p:nvPr/>
            </p:nvSpPr>
            <p:spPr>
              <a:xfrm>
                <a:off x="1713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9" name="Arrow: Chevron 4">
                <a:extLst>
                  <a:ext uri="{FF2B5EF4-FFF2-40B4-BE49-F238E27FC236}">
                    <a16:creationId xmlns:a16="http://schemas.microsoft.com/office/drawing/2014/main" id="{B424D01D-A194-472C-A72E-19D5D7EB44E3}"/>
                  </a:ext>
                </a:extLst>
              </p:cNvPr>
              <p:cNvSpPr txBox="1"/>
              <p:nvPr/>
            </p:nvSpPr>
            <p:spPr>
              <a:xfrm>
                <a:off x="201243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Arial"/>
                  </a:rPr>
                  <a:t>Planning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B86CF3C-8BD8-4D59-AD5E-643F4B264CF7}"/>
                </a:ext>
              </a:extLst>
            </p:cNvPr>
            <p:cNvGrpSpPr/>
            <p:nvPr/>
          </p:nvGrpSpPr>
          <p:grpSpPr>
            <a:xfrm>
              <a:off x="3624235" y="3229470"/>
              <a:ext cx="997648" cy="399059"/>
              <a:chOff x="899597" y="220150"/>
              <a:chExt cx="997648" cy="399059"/>
            </a:xfrm>
            <a:grpFill/>
          </p:grpSpPr>
          <p:sp>
            <p:nvSpPr>
              <p:cNvPr id="16" name="Arrow: Chevron 15">
                <a:extLst>
                  <a:ext uri="{FF2B5EF4-FFF2-40B4-BE49-F238E27FC236}">
                    <a16:creationId xmlns:a16="http://schemas.microsoft.com/office/drawing/2014/main" id="{91500A3E-DF0F-4784-A52E-7C791BCF584E}"/>
                  </a:ext>
                </a:extLst>
              </p:cNvPr>
              <p:cNvSpPr/>
              <p:nvPr/>
            </p:nvSpPr>
            <p:spPr>
              <a:xfrm>
                <a:off x="899597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7" name="Arrow: Chevron 6">
                <a:extLst>
                  <a:ext uri="{FF2B5EF4-FFF2-40B4-BE49-F238E27FC236}">
                    <a16:creationId xmlns:a16="http://schemas.microsoft.com/office/drawing/2014/main" id="{08649741-3B89-45DE-BE12-4E7AFF7B6D12}"/>
                  </a:ext>
                </a:extLst>
              </p:cNvPr>
              <p:cNvSpPr txBox="1"/>
              <p:nvPr/>
            </p:nvSpPr>
            <p:spPr>
              <a:xfrm>
                <a:off x="1099127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Arial"/>
                  </a:rPr>
                  <a:t>Approval process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E7DD7BC8-248F-4C27-8757-48A22BC1E34A}"/>
                </a:ext>
              </a:extLst>
            </p:cNvPr>
            <p:cNvGrpSpPr/>
            <p:nvPr/>
          </p:nvGrpSpPr>
          <p:grpSpPr>
            <a:xfrm>
              <a:off x="4522118" y="3229470"/>
              <a:ext cx="997648" cy="399059"/>
              <a:chOff x="1797480" y="220150"/>
              <a:chExt cx="997648" cy="399059"/>
            </a:xfrm>
            <a:grpFill/>
          </p:grpSpPr>
          <p:sp>
            <p:nvSpPr>
              <p:cNvPr id="14" name="Arrow: Chevron 13">
                <a:extLst>
                  <a:ext uri="{FF2B5EF4-FFF2-40B4-BE49-F238E27FC236}">
                    <a16:creationId xmlns:a16="http://schemas.microsoft.com/office/drawing/2014/main" id="{CB54FA82-A172-4909-B7C6-0BFAD0E07C4D}"/>
                  </a:ext>
                </a:extLst>
              </p:cNvPr>
              <p:cNvSpPr/>
              <p:nvPr/>
            </p:nvSpPr>
            <p:spPr>
              <a:xfrm>
                <a:off x="1797480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5" name="Arrow: Chevron 8">
                <a:extLst>
                  <a:ext uri="{FF2B5EF4-FFF2-40B4-BE49-F238E27FC236}">
                    <a16:creationId xmlns:a16="http://schemas.microsoft.com/office/drawing/2014/main" id="{81ED1E3E-A605-4F3A-BC16-5C7B879E6364}"/>
                  </a:ext>
                </a:extLst>
              </p:cNvPr>
              <p:cNvSpPr txBox="1"/>
              <p:nvPr/>
            </p:nvSpPr>
            <p:spPr>
              <a:xfrm>
                <a:off x="1997010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Arial"/>
                  </a:rPr>
                  <a:t>Construction </a:t>
                </a: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D416CCE2-0D2D-4EA6-B02D-2EEB93919757}"/>
                </a:ext>
              </a:extLst>
            </p:cNvPr>
            <p:cNvGrpSpPr/>
            <p:nvPr/>
          </p:nvGrpSpPr>
          <p:grpSpPr>
            <a:xfrm>
              <a:off x="5420001" y="3229470"/>
              <a:ext cx="997648" cy="399059"/>
              <a:chOff x="2695363" y="220150"/>
              <a:chExt cx="997648" cy="399059"/>
            </a:xfrm>
            <a:grpFill/>
          </p:grpSpPr>
          <p:sp>
            <p:nvSpPr>
              <p:cNvPr id="12" name="Arrow: Chevron 11">
                <a:extLst>
                  <a:ext uri="{FF2B5EF4-FFF2-40B4-BE49-F238E27FC236}">
                    <a16:creationId xmlns:a16="http://schemas.microsoft.com/office/drawing/2014/main" id="{A9225BBB-A4E1-4774-9BD2-E31978998735}"/>
                  </a:ext>
                </a:extLst>
              </p:cNvPr>
              <p:cNvSpPr/>
              <p:nvPr/>
            </p:nvSpPr>
            <p:spPr>
              <a:xfrm>
                <a:off x="2695363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3" name="Arrow: Chevron 10">
                <a:extLst>
                  <a:ext uri="{FF2B5EF4-FFF2-40B4-BE49-F238E27FC236}">
                    <a16:creationId xmlns:a16="http://schemas.microsoft.com/office/drawing/2014/main" id="{76DAC19F-7FB9-4D86-8D67-0F3063ACBB84}"/>
                  </a:ext>
                </a:extLst>
              </p:cNvPr>
              <p:cNvSpPr txBox="1"/>
              <p:nvPr/>
            </p:nvSpPr>
            <p:spPr>
              <a:xfrm>
                <a:off x="2894893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Arial"/>
                  </a:rPr>
                  <a:t>Operation</a:t>
                </a:r>
              </a:p>
            </p:txBody>
          </p:sp>
        </p:grpSp>
      </p:grpSp>
      <p:sp>
        <p:nvSpPr>
          <p:cNvPr id="20" name="Oval 19">
            <a:extLst>
              <a:ext uri="{FF2B5EF4-FFF2-40B4-BE49-F238E27FC236}">
                <a16:creationId xmlns:a16="http://schemas.microsoft.com/office/drawing/2014/main" id="{7C591C1E-83F9-4C7F-882E-BD66056D6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1863953" y="3784492"/>
            <a:ext cx="1032695" cy="674162"/>
          </a:xfrm>
          <a:prstGeom prst="ellipse">
            <a:avLst/>
          </a:prstGeom>
          <a:solidFill>
            <a:srgbClr val="E8E8E8">
              <a:tint val="50000"/>
              <a:alpha val="40000"/>
              <a:hueOff val="0"/>
              <a:satOff val="0"/>
              <a:lumOff val="0"/>
              <a:alphaOff val="0"/>
            </a:srgbClr>
          </a:solidFill>
          <a:ln>
            <a:noFill/>
          </a:ln>
          <a:effectLst/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054E4CE-4F2F-4B1D-B205-225039CCFB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323525" y="2193979"/>
            <a:ext cx="173833" cy="1116000"/>
          </a:xfrm>
          <a:prstGeom prst="rect">
            <a:avLst/>
          </a:prstGeom>
          <a:solidFill>
            <a:srgbClr val="BA0C2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281237B-CF5C-4E51-B9B6-27581A03FEC7}"/>
              </a:ext>
            </a:extLst>
          </p:cNvPr>
          <p:cNvSpPr txBox="1"/>
          <p:nvPr/>
        </p:nvSpPr>
        <p:spPr>
          <a:xfrm>
            <a:off x="1507619" y="3307356"/>
            <a:ext cx="1728000" cy="881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Early auction:</a:t>
            </a:r>
          </a:p>
          <a:p>
            <a:pPr marL="0" marR="0" lvl="0" indent="0" algn="ctr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RfQ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stage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RfP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stag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34B4A9A-AAC8-48BD-9E49-B78F80DD0C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689384" y="2193979"/>
            <a:ext cx="173833" cy="1116000"/>
          </a:xfrm>
          <a:prstGeom prst="rect">
            <a:avLst/>
          </a:prstGeom>
          <a:solidFill>
            <a:srgbClr val="BA0C2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BACBC78-083E-45C9-A1DD-B122603946A3}"/>
              </a:ext>
            </a:extLst>
          </p:cNvPr>
          <p:cNvSpPr txBox="1"/>
          <p:nvPr/>
        </p:nvSpPr>
        <p:spPr>
          <a:xfrm>
            <a:off x="743814" y="6044625"/>
            <a:ext cx="45996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 typeface="Verdana" panose="020B060403050404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Technical: Sunk costs</a:t>
            </a:r>
          </a:p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 typeface="Verdana" panose="020B060403050404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All: Prohibitive barrier for (some) bidder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4EC04E1-9DEA-41C4-B394-7A71C4F077B7}"/>
              </a:ext>
            </a:extLst>
          </p:cNvPr>
          <p:cNvSpPr txBox="1"/>
          <p:nvPr/>
        </p:nvSpPr>
        <p:spPr>
          <a:xfrm>
            <a:off x="720958" y="4893208"/>
            <a:ext cx="462250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63538" marR="0" lvl="1" indent="-363538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7AB800"/>
              </a:buClr>
              <a:buSzPct val="110000"/>
              <a:buFont typeface="Verdana" pitchFamily="34" charset="0"/>
              <a:buChar char="+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Technical: Selection of projects with sufficient progress in planning (ability to assess costs)</a:t>
            </a:r>
          </a:p>
          <a:p>
            <a:pPr marL="363538" marR="0" lvl="1" indent="-363538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7AB800"/>
              </a:buClr>
              <a:buSzPct val="110000"/>
              <a:buFont typeface="Verdana" pitchFamily="34" charset="0"/>
              <a:buChar char="+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Financial: Bidders with intention to realiz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CB04C98-EAA4-48EF-9564-47395CFEA857}"/>
              </a:ext>
            </a:extLst>
          </p:cNvPr>
          <p:cNvSpPr txBox="1"/>
          <p:nvPr/>
        </p:nvSpPr>
        <p:spPr>
          <a:xfrm>
            <a:off x="743814" y="4533501"/>
            <a:ext cx="4652591" cy="34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Conditions for participation</a:t>
            </a:r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545BD2A8-4013-4389-8294-09F3A5E0B6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1480726" y="4202607"/>
            <a:ext cx="1728000" cy="216993"/>
          </a:xfrm>
          <a:prstGeom prst="triangle">
            <a:avLst/>
          </a:prstGeom>
          <a:solidFill>
            <a:srgbClr val="E8E8E8"/>
          </a:solidFill>
          <a:ln w="9525" cap="flat" cmpd="sng" algn="ctr">
            <a:solidFill>
              <a:srgbClr val="8B8D8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ECD7A3B9-4F49-45FC-A231-19B600EB12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609600" y="4477140"/>
            <a:ext cx="4858615" cy="2152260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A9AFDA4-C832-4E27-9DF5-59DF88881F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4469228" y="2193979"/>
            <a:ext cx="173833" cy="1116000"/>
          </a:xfrm>
          <a:prstGeom prst="rect">
            <a:avLst/>
          </a:prstGeom>
          <a:solidFill>
            <a:srgbClr val="BA0C2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5D9559F-3B89-4D41-A8B1-ED3088C26CD5}"/>
              </a:ext>
            </a:extLst>
          </p:cNvPr>
          <p:cNvSpPr txBox="1"/>
          <p:nvPr/>
        </p:nvSpPr>
        <p:spPr>
          <a:xfrm>
            <a:off x="3697484" y="3307356"/>
            <a:ext cx="1717319" cy="8819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Late auction:</a:t>
            </a:r>
          </a:p>
          <a:p>
            <a:pPr marL="0" marR="0" lvl="0" indent="0" algn="ctr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RfQ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stage</a:t>
            </a:r>
            <a:endParaRPr kumimoji="0" lang="de-DE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RfP</a:t>
            </a:r>
            <a:r>
              <a:rPr kumimoji="0" lang="de-DE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 </a:t>
            </a:r>
            <a:r>
              <a:rPr kumimoji="0" lang="de-DE" sz="16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stag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31" name="Isosceles Triangle 30">
            <a:extLst>
              <a:ext uri="{FF2B5EF4-FFF2-40B4-BE49-F238E27FC236}">
                <a16:creationId xmlns:a16="http://schemas.microsoft.com/office/drawing/2014/main" id="{348DFB02-64FE-4FEB-B28E-B1E7DE3462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740216" y="4202607"/>
            <a:ext cx="1728000" cy="216993"/>
          </a:xfrm>
          <a:prstGeom prst="triangle">
            <a:avLst/>
          </a:prstGeom>
          <a:solidFill>
            <a:srgbClr val="E8E8E8"/>
          </a:solidFill>
          <a:ln w="9525" cap="flat" cmpd="sng" algn="ctr">
            <a:solidFill>
              <a:srgbClr val="8B8D8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32" name="Content Placeholder 6">
            <a:extLst>
              <a:ext uri="{FF2B5EF4-FFF2-40B4-BE49-F238E27FC236}">
                <a16:creationId xmlns:a16="http://schemas.microsoft.com/office/drawing/2014/main" id="{CF8CA948-2930-4932-B1A9-8223736FAE7A}"/>
              </a:ext>
            </a:extLst>
          </p:cNvPr>
          <p:cNvSpPr txBox="1">
            <a:spLocks/>
          </p:cNvSpPr>
          <p:nvPr/>
        </p:nvSpPr>
        <p:spPr bwMode="auto">
          <a:xfrm>
            <a:off x="5530619" y="3780681"/>
            <a:ext cx="3537181" cy="288000"/>
          </a:xfrm>
          <a:prstGeom prst="rect">
            <a:avLst/>
          </a:prstGeom>
          <a:solidFill>
            <a:srgbClr val="E10040"/>
          </a:solidFill>
          <a:ln w="9525">
            <a:solidFill>
              <a:srgbClr val="E10040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</a:rPr>
              <a:t>Country examples</a:t>
            </a:r>
          </a:p>
        </p:txBody>
      </p:sp>
      <p:sp>
        <p:nvSpPr>
          <p:cNvPr id="33" name="Content Placeholder 6">
            <a:extLst>
              <a:ext uri="{FF2B5EF4-FFF2-40B4-BE49-F238E27FC236}">
                <a16:creationId xmlns:a16="http://schemas.microsoft.com/office/drawing/2014/main" id="{1E78A9E3-D986-442B-BDF0-0739901CCCA5}"/>
              </a:ext>
            </a:extLst>
          </p:cNvPr>
          <p:cNvSpPr txBox="1">
            <a:spLocks/>
          </p:cNvSpPr>
          <p:nvPr/>
        </p:nvSpPr>
        <p:spPr bwMode="auto">
          <a:xfrm>
            <a:off x="5530619" y="4070416"/>
            <a:ext cx="3537181" cy="2725211"/>
          </a:xfrm>
          <a:prstGeom prst="rect">
            <a:avLst/>
          </a:prstGeom>
          <a:noFill/>
          <a:ln w="9525">
            <a:solidFill>
              <a:srgbClr val="E10040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Ethiopia (government-sited, 100MW)</a:t>
            </a:r>
            <a:r>
              <a:rPr kumimoji="0" lang="en-US" sz="15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 </a:t>
            </a:r>
          </a:p>
          <a:p>
            <a:pPr fontAlgn="auto"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500" baseline="0" dirty="0">
                <a:solidFill>
                  <a:schemeClr val="tx1"/>
                </a:solidFill>
                <a:latin typeface="+mj-lt"/>
              </a:rPr>
              <a:t>Bid bond: $3/kW</a:t>
            </a:r>
          </a:p>
          <a:p>
            <a:pPr fontAlgn="auto">
              <a:lnSpc>
                <a:spcPct val="110000"/>
              </a:lnSpc>
              <a:spcAft>
                <a:spcPts val="0"/>
              </a:spcAft>
              <a:defRPr/>
            </a:pPr>
            <a:r>
              <a:rPr kumimoji="0" lang="en-US" sz="15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Completion bond: $15/kW</a:t>
            </a:r>
            <a:endParaRPr lang="en-US" sz="1500" dirty="0">
              <a:solidFill>
                <a:schemeClr val="tx1"/>
              </a:solidFill>
              <a:latin typeface="+mj-lt"/>
            </a:endParaRPr>
          </a:p>
          <a:p>
            <a:pPr marL="0" indent="0" fontAlgn="auto">
              <a:lnSpc>
                <a:spcPct val="110000"/>
              </a:lnSpc>
              <a:spcAft>
                <a:spcPts val="0"/>
              </a:spcAft>
              <a:buNone/>
              <a:defRPr/>
            </a:pPr>
            <a:r>
              <a:rPr lang="en-US" sz="1500" dirty="0">
                <a:solidFill>
                  <a:schemeClr val="tx1"/>
                </a:solidFill>
                <a:latin typeface="+mj-lt"/>
              </a:rPr>
              <a:t>Zambia (government-sited, 2x50 MW)</a:t>
            </a:r>
            <a:endParaRPr lang="en-US" sz="1500" baseline="0" dirty="0">
              <a:solidFill>
                <a:schemeClr val="tx1"/>
              </a:solidFill>
              <a:latin typeface="+mj-lt"/>
            </a:endParaRPr>
          </a:p>
          <a:p>
            <a:pPr fontAlgn="auto">
              <a:lnSpc>
                <a:spcPct val="110000"/>
              </a:lnSpc>
              <a:spcAft>
                <a:spcPts val="0"/>
              </a:spcAft>
              <a:defRPr/>
            </a:pPr>
            <a:r>
              <a:rPr kumimoji="0" lang="en-US" sz="15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Bid bond: $26/kW</a:t>
            </a:r>
          </a:p>
          <a:p>
            <a:pPr fontAlgn="auto"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500" dirty="0">
                <a:solidFill>
                  <a:schemeClr val="tx1"/>
                </a:solidFill>
                <a:latin typeface="+mj-lt"/>
              </a:rPr>
              <a:t>Completion bond: $300/kW ($15M per project)</a:t>
            </a:r>
            <a:endParaRPr kumimoji="0" lang="en-US" sz="1500" b="0" i="0" u="none" strike="noStrike" kern="1200" cap="none" spc="0" normalizeH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</a:endParaRPr>
          </a:p>
          <a:p>
            <a:pPr marL="0" indent="0" fontAlgn="auto">
              <a:lnSpc>
                <a:spcPct val="110000"/>
              </a:lnSpc>
              <a:spcAft>
                <a:spcPts val="0"/>
              </a:spcAft>
              <a:buNone/>
              <a:defRPr/>
            </a:pPr>
            <a:r>
              <a:rPr kumimoji="0" lang="en-US" sz="15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South Africa (bidder</a:t>
            </a:r>
            <a:r>
              <a:rPr lang="en-US" sz="1500" dirty="0">
                <a:solidFill>
                  <a:schemeClr val="tx1"/>
                </a:solidFill>
                <a:latin typeface="+mj-lt"/>
              </a:rPr>
              <a:t>-sited)</a:t>
            </a:r>
          </a:p>
          <a:p>
            <a:pPr fontAlgn="auto">
              <a:lnSpc>
                <a:spcPct val="110000"/>
              </a:lnSpc>
              <a:spcAft>
                <a:spcPts val="0"/>
              </a:spcAft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Bid</a:t>
            </a:r>
            <a:r>
              <a:rPr kumimoji="0" lang="en-US" sz="15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 bond: $8/kW</a:t>
            </a:r>
          </a:p>
          <a:p>
            <a:pPr fontAlgn="auto"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500" baseline="0" dirty="0">
                <a:solidFill>
                  <a:schemeClr val="tx1"/>
                </a:solidFill>
                <a:latin typeface="+mj-lt"/>
              </a:rPr>
              <a:t>Completion</a:t>
            </a:r>
            <a:r>
              <a:rPr lang="en-US" sz="1500" dirty="0">
                <a:solidFill>
                  <a:schemeClr val="tx1"/>
                </a:solidFill>
                <a:latin typeface="+mj-lt"/>
              </a:rPr>
              <a:t> bond: $16/kW</a:t>
            </a:r>
          </a:p>
          <a:p>
            <a:pPr marL="0" indent="0" fontAlgn="auto">
              <a:lnSpc>
                <a:spcPct val="110000"/>
              </a:lnSpc>
              <a:spcAft>
                <a:spcPts val="0"/>
              </a:spcAft>
              <a:buNone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635C5B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EE7E3B5-FCC4-4753-AD72-E1017B783DC2}"/>
              </a:ext>
            </a:extLst>
          </p:cNvPr>
          <p:cNvSpPr txBox="1"/>
          <p:nvPr/>
        </p:nvSpPr>
        <p:spPr>
          <a:xfrm>
            <a:off x="6010481" y="3307356"/>
            <a:ext cx="2257782" cy="361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+mj-lt"/>
                <a:ea typeface="+mn-ea"/>
                <a:cs typeface="Arial"/>
              </a:rPr>
              <a:t>Project realization</a:t>
            </a:r>
          </a:p>
        </p:txBody>
      </p:sp>
    </p:spTree>
    <p:extLst>
      <p:ext uri="{BB962C8B-B14F-4D97-AF65-F5344CB8AC3E}">
        <p14:creationId xmlns:p14="http://schemas.microsoft.com/office/powerpoint/2010/main" val="3447214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/>
      <p:bldP spid="23" grpId="0" animBg="1"/>
      <p:bldP spid="24" grpId="0"/>
      <p:bldP spid="25" grpId="0"/>
      <p:bldP spid="26" grpId="0"/>
      <p:bldP spid="27" grpId="0" animBg="1"/>
      <p:bldP spid="28" grpId="0" animBg="1"/>
      <p:bldP spid="29" grpId="0" animBg="1"/>
      <p:bldP spid="30" grpId="0"/>
      <p:bldP spid="31" grpId="0" animBg="1"/>
      <p:bldP spid="32" grpId="0" animBg="1"/>
      <p:bldP spid="33" grpId="0" animBg="1"/>
      <p:bldP spid="3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371600"/>
            <a:ext cx="7772400" cy="457200"/>
          </a:xfrm>
        </p:spPr>
        <p:txBody>
          <a:bodyPr/>
          <a:lstStyle/>
          <a:p>
            <a:pPr algn="ctr"/>
            <a:r>
              <a:rPr lang="en-US" dirty="0"/>
              <a:t>Penalties enforce project realization </a:t>
            </a:r>
          </a:p>
        </p:txBody>
      </p:sp>
      <p:grpSp>
        <p:nvGrpSpPr>
          <p:cNvPr id="6" name="Group 5" descr="An arrow from left to right indicating the flow from the planning step to the approval process to construction to operation, with a large red ex between the steps of construction and operation, indicating where there is no/delayed project realization. ">
            <a:extLst>
              <a:ext uri="{FF2B5EF4-FFF2-40B4-BE49-F238E27FC236}">
                <a16:creationId xmlns:a16="http://schemas.microsoft.com/office/drawing/2014/main" id="{D6D41746-8452-499C-958E-1FE9BB416B3A}"/>
              </a:ext>
            </a:extLst>
          </p:cNvPr>
          <p:cNvGrpSpPr/>
          <p:nvPr/>
        </p:nvGrpSpPr>
        <p:grpSpPr>
          <a:xfrm>
            <a:off x="228600" y="1981200"/>
            <a:ext cx="8546006" cy="582652"/>
            <a:chOff x="2726351" y="3229470"/>
            <a:chExt cx="3691298" cy="399059"/>
          </a:xfrm>
          <a:solidFill>
            <a:srgbClr val="002F6C"/>
          </a:solidFill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547BE8AC-1E8D-40D4-94AF-7CA0E503A00C}"/>
                </a:ext>
              </a:extLst>
            </p:cNvPr>
            <p:cNvGrpSpPr/>
            <p:nvPr/>
          </p:nvGrpSpPr>
          <p:grpSpPr>
            <a:xfrm>
              <a:off x="2726351" y="3229470"/>
              <a:ext cx="997648" cy="399059"/>
              <a:chOff x="1713" y="220150"/>
              <a:chExt cx="997648" cy="399059"/>
            </a:xfrm>
            <a:grpFill/>
          </p:grpSpPr>
          <p:sp>
            <p:nvSpPr>
              <p:cNvPr id="17" name="Arrow: Chevron 16">
                <a:extLst>
                  <a:ext uri="{FF2B5EF4-FFF2-40B4-BE49-F238E27FC236}">
                    <a16:creationId xmlns:a16="http://schemas.microsoft.com/office/drawing/2014/main" id="{6F38D17E-010A-4309-A2BD-7253667946EF}"/>
                  </a:ext>
                </a:extLst>
              </p:cNvPr>
              <p:cNvSpPr/>
              <p:nvPr/>
            </p:nvSpPr>
            <p:spPr>
              <a:xfrm>
                <a:off x="1713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8" name="Arrow: Chevron 4">
                <a:extLst>
                  <a:ext uri="{FF2B5EF4-FFF2-40B4-BE49-F238E27FC236}">
                    <a16:creationId xmlns:a16="http://schemas.microsoft.com/office/drawing/2014/main" id="{22A2940C-A30A-4A80-9892-139C1078D8A6}"/>
                  </a:ext>
                </a:extLst>
              </p:cNvPr>
              <p:cNvSpPr txBox="1"/>
              <p:nvPr/>
            </p:nvSpPr>
            <p:spPr>
              <a:xfrm>
                <a:off x="201243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Arial"/>
                  </a:rPr>
                  <a:t>Planning</a:t>
                </a:r>
              </a:p>
            </p:txBody>
          </p:sp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236F664-C3A9-479F-8484-7B5BFD5DB507}"/>
                </a:ext>
              </a:extLst>
            </p:cNvPr>
            <p:cNvGrpSpPr/>
            <p:nvPr/>
          </p:nvGrpSpPr>
          <p:grpSpPr>
            <a:xfrm>
              <a:off x="3624235" y="3229470"/>
              <a:ext cx="997648" cy="399059"/>
              <a:chOff x="899597" y="220150"/>
              <a:chExt cx="997648" cy="399059"/>
            </a:xfrm>
            <a:grpFill/>
          </p:grpSpPr>
          <p:sp>
            <p:nvSpPr>
              <p:cNvPr id="15" name="Arrow: Chevron 14">
                <a:extLst>
                  <a:ext uri="{FF2B5EF4-FFF2-40B4-BE49-F238E27FC236}">
                    <a16:creationId xmlns:a16="http://schemas.microsoft.com/office/drawing/2014/main" id="{7DAF622C-05EE-4823-AE08-16C7126EDF74}"/>
                  </a:ext>
                </a:extLst>
              </p:cNvPr>
              <p:cNvSpPr/>
              <p:nvPr/>
            </p:nvSpPr>
            <p:spPr>
              <a:xfrm>
                <a:off x="899597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6" name="Arrow: Chevron 6">
                <a:extLst>
                  <a:ext uri="{FF2B5EF4-FFF2-40B4-BE49-F238E27FC236}">
                    <a16:creationId xmlns:a16="http://schemas.microsoft.com/office/drawing/2014/main" id="{0ECCD51B-AE8E-4526-A535-B91851C2A5DC}"/>
                  </a:ext>
                </a:extLst>
              </p:cNvPr>
              <p:cNvSpPr txBox="1"/>
              <p:nvPr/>
            </p:nvSpPr>
            <p:spPr>
              <a:xfrm>
                <a:off x="1099127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Arial"/>
                  </a:rPr>
                  <a:t>Approval process</a:t>
                </a: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CA1D086-4ED6-48CE-848C-5B305C68F424}"/>
                </a:ext>
              </a:extLst>
            </p:cNvPr>
            <p:cNvGrpSpPr/>
            <p:nvPr/>
          </p:nvGrpSpPr>
          <p:grpSpPr>
            <a:xfrm>
              <a:off x="4522118" y="3229470"/>
              <a:ext cx="997648" cy="399059"/>
              <a:chOff x="1797480" y="220150"/>
              <a:chExt cx="997648" cy="399059"/>
            </a:xfrm>
            <a:grpFill/>
          </p:grpSpPr>
          <p:sp>
            <p:nvSpPr>
              <p:cNvPr id="13" name="Arrow: Chevron 12">
                <a:extLst>
                  <a:ext uri="{FF2B5EF4-FFF2-40B4-BE49-F238E27FC236}">
                    <a16:creationId xmlns:a16="http://schemas.microsoft.com/office/drawing/2014/main" id="{5E2FE8AE-4E18-473D-AF86-BA004AE52094}"/>
                  </a:ext>
                </a:extLst>
              </p:cNvPr>
              <p:cNvSpPr/>
              <p:nvPr/>
            </p:nvSpPr>
            <p:spPr>
              <a:xfrm>
                <a:off x="1797480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4" name="Arrow: Chevron 8">
                <a:extLst>
                  <a:ext uri="{FF2B5EF4-FFF2-40B4-BE49-F238E27FC236}">
                    <a16:creationId xmlns:a16="http://schemas.microsoft.com/office/drawing/2014/main" id="{123D20E7-535D-4A81-B004-BEEB8543BB42}"/>
                  </a:ext>
                </a:extLst>
              </p:cNvPr>
              <p:cNvSpPr txBox="1"/>
              <p:nvPr/>
            </p:nvSpPr>
            <p:spPr>
              <a:xfrm>
                <a:off x="1997010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Arial"/>
                  </a:rPr>
                  <a:t>Construction </a:t>
                </a: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70005A9-2315-468C-9C58-9C3633CD83D5}"/>
                </a:ext>
              </a:extLst>
            </p:cNvPr>
            <p:cNvGrpSpPr/>
            <p:nvPr/>
          </p:nvGrpSpPr>
          <p:grpSpPr>
            <a:xfrm>
              <a:off x="5420001" y="3229470"/>
              <a:ext cx="997648" cy="399059"/>
              <a:chOff x="2695363" y="220150"/>
              <a:chExt cx="997648" cy="399059"/>
            </a:xfrm>
            <a:grpFill/>
          </p:grpSpPr>
          <p:sp>
            <p:nvSpPr>
              <p:cNvPr id="11" name="Arrow: Chevron 10">
                <a:extLst>
                  <a:ext uri="{FF2B5EF4-FFF2-40B4-BE49-F238E27FC236}">
                    <a16:creationId xmlns:a16="http://schemas.microsoft.com/office/drawing/2014/main" id="{1B3D2755-0A1D-48C1-8661-5D9464B196F6}"/>
                  </a:ext>
                </a:extLst>
              </p:cNvPr>
              <p:cNvSpPr/>
              <p:nvPr/>
            </p:nvSpPr>
            <p:spPr>
              <a:xfrm>
                <a:off x="2695363" y="220150"/>
                <a:ext cx="997648" cy="399059"/>
              </a:xfrm>
              <a:prstGeom prst="chevron">
                <a:avLst/>
              </a:prstGeom>
              <a:grpFill/>
              <a:ln w="25400" cap="flat" cmpd="sng" algn="ctr">
                <a:solidFill>
                  <a:schemeClr val="accent6"/>
                </a:solidFill>
                <a:prstDash val="solid"/>
              </a:ln>
              <a:effectLst/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endParaRPr>
              </a:p>
            </p:txBody>
          </p:sp>
          <p:sp>
            <p:nvSpPr>
              <p:cNvPr id="12" name="Arrow: Chevron 10">
                <a:extLst>
                  <a:ext uri="{FF2B5EF4-FFF2-40B4-BE49-F238E27FC236}">
                    <a16:creationId xmlns:a16="http://schemas.microsoft.com/office/drawing/2014/main" id="{CD91411C-975B-4A7E-8342-91A74A61B4BF}"/>
                  </a:ext>
                </a:extLst>
              </p:cNvPr>
              <p:cNvSpPr txBox="1"/>
              <p:nvPr/>
            </p:nvSpPr>
            <p:spPr>
              <a:xfrm>
                <a:off x="2894893" y="220150"/>
                <a:ext cx="598589" cy="399059"/>
              </a:xfrm>
              <a:prstGeom prst="rect">
                <a:avLst/>
              </a:prstGeom>
              <a:grpFill/>
              <a:ln>
                <a:solidFill>
                  <a:schemeClr val="accent6"/>
                </a:solidFill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32004" tIns="10668" rIns="10668" bIns="10668" numCol="1" spcCol="1270" anchor="ctr" anchorCtr="0">
                <a:noAutofit/>
              </a:bodyPr>
              <a:lstStyle/>
              <a:p>
                <a:pPr marL="0" marR="0" lvl="0" indent="0" algn="ctr" defTabSz="3556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j-lt"/>
                    <a:ea typeface="+mn-ea"/>
                    <a:cs typeface="Arial"/>
                  </a:rPr>
                  <a:t>Operation</a:t>
                </a:r>
              </a:p>
            </p:txBody>
          </p:sp>
        </p:grp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8EDE4F13-76FF-4F76-9F2C-C1BB3FE482F1}"/>
              </a:ext>
            </a:extLst>
          </p:cNvPr>
          <p:cNvSpPr txBox="1"/>
          <p:nvPr/>
        </p:nvSpPr>
        <p:spPr>
          <a:xfrm>
            <a:off x="5096301" y="4030001"/>
            <a:ext cx="31771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 typeface="Verdana" panose="020B060403050404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Risk for bidders increases</a:t>
            </a:r>
          </a:p>
          <a:p>
            <a:pPr marL="342900" marR="0" lvl="1" indent="-34290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 typeface="Verdana" panose="020B0604030504040204" pitchFamily="34" charset="0"/>
              <a:buChar char="-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Prohibitive barrier for (some) bidders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2307DF5-F0CA-4DCF-862A-BDD980977A65}"/>
              </a:ext>
            </a:extLst>
          </p:cNvPr>
          <p:cNvSpPr txBox="1"/>
          <p:nvPr/>
        </p:nvSpPr>
        <p:spPr>
          <a:xfrm>
            <a:off x="5151833" y="3463213"/>
            <a:ext cx="312161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marR="0" lvl="1" indent="-271463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7AB800"/>
              </a:buClr>
              <a:buSzPct val="110000"/>
              <a:buFont typeface="Verdana" pitchFamily="34" charset="0"/>
              <a:buChar char="+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Incentive to realize due to penalties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B44E1A5-4B6B-4090-901E-E4853CC3F960}"/>
              </a:ext>
            </a:extLst>
          </p:cNvPr>
          <p:cNvSpPr txBox="1"/>
          <p:nvPr/>
        </p:nvSpPr>
        <p:spPr>
          <a:xfrm>
            <a:off x="5199084" y="3200400"/>
            <a:ext cx="3147693" cy="343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Deadlines and penalti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2C74316-B799-4F70-85AA-05071650FA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140187" y="3200400"/>
            <a:ext cx="3318014" cy="1679173"/>
          </a:xfrm>
          <a:prstGeom prst="rect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24" name="Isosceles Triangle 23">
            <a:extLst>
              <a:ext uri="{FF2B5EF4-FFF2-40B4-BE49-F238E27FC236}">
                <a16:creationId xmlns:a16="http://schemas.microsoft.com/office/drawing/2014/main" id="{A427A64D-F936-486A-8B40-21DF23D66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5096301" y="2971800"/>
            <a:ext cx="3361899" cy="162795"/>
          </a:xfrm>
          <a:prstGeom prst="triangle">
            <a:avLst/>
          </a:prstGeom>
          <a:solidFill>
            <a:srgbClr val="E8E8E8"/>
          </a:solidFill>
          <a:ln w="9525" cap="flat" cmpd="sng" algn="ctr">
            <a:solidFill>
              <a:srgbClr val="8B8D8E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26" name="Content Placeholder 6">
            <a:extLst>
              <a:ext uri="{FF2B5EF4-FFF2-40B4-BE49-F238E27FC236}">
                <a16:creationId xmlns:a16="http://schemas.microsoft.com/office/drawing/2014/main" id="{AE26CEF5-CBD9-458A-B149-3DB759929B03}"/>
              </a:ext>
            </a:extLst>
          </p:cNvPr>
          <p:cNvSpPr txBox="1">
            <a:spLocks/>
          </p:cNvSpPr>
          <p:nvPr/>
        </p:nvSpPr>
        <p:spPr bwMode="auto">
          <a:xfrm>
            <a:off x="596348" y="2807732"/>
            <a:ext cx="4128052" cy="367031"/>
          </a:xfrm>
          <a:prstGeom prst="rect">
            <a:avLst/>
          </a:prstGeom>
          <a:solidFill>
            <a:srgbClr val="002A6C"/>
          </a:solidFill>
          <a:ln w="9525">
            <a:solidFill>
              <a:srgbClr val="BA0C2F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</a:rPr>
              <a:t>Consideratio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27" name="Content Placeholder 6">
            <a:extLst>
              <a:ext uri="{FF2B5EF4-FFF2-40B4-BE49-F238E27FC236}">
                <a16:creationId xmlns:a16="http://schemas.microsoft.com/office/drawing/2014/main" id="{43D5ABCA-FF73-4959-9098-569D3D59B9F5}"/>
              </a:ext>
            </a:extLst>
          </p:cNvPr>
          <p:cNvSpPr txBox="1">
            <a:spLocks/>
          </p:cNvSpPr>
          <p:nvPr/>
        </p:nvSpPr>
        <p:spPr bwMode="auto">
          <a:xfrm>
            <a:off x="596348" y="3174762"/>
            <a:ext cx="4120243" cy="3302238"/>
          </a:xfrm>
          <a:prstGeom prst="rect">
            <a:avLst/>
          </a:prstGeom>
          <a:noFill/>
          <a:ln w="9525">
            <a:solidFill>
              <a:srgbClr val="1E4ABD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rm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188" marR="0" indent="-230188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en-US" sz="160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230188" marR="0" indent="-230188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+mn-cs"/>
              </a:rPr>
              <a:t>Penalties imposed in case project is delayed or fails to comply with the requirements stated in the PPA contract.</a:t>
            </a:r>
          </a:p>
          <a:p>
            <a:pPr marL="230188" marR="0" indent="-230188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lang="de-DE" sz="1600" dirty="0">
              <a:solidFill>
                <a:srgbClr val="000000"/>
              </a:solidFill>
              <a:latin typeface="Arial"/>
              <a:cs typeface="+mn-cs"/>
            </a:endParaRPr>
          </a:p>
          <a:p>
            <a:pPr marL="230188" marR="0" indent="-230188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+mn-cs"/>
              </a:rPr>
              <a:t>Examples of penalties:</a:t>
            </a:r>
          </a:p>
          <a:p>
            <a:pPr marL="684213" marR="0" indent="-230188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+mn-cs"/>
              </a:rPr>
              <a:t>Execution of financial guarantees if:</a:t>
            </a:r>
          </a:p>
          <a:p>
            <a:pPr marL="914400" marR="0" indent="-230188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+mn-cs"/>
              </a:rPr>
              <a:t>Signing of PPA is delayed</a:t>
            </a:r>
          </a:p>
          <a:p>
            <a:pPr marL="914400" marR="0" indent="-230188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+mn-cs"/>
              </a:rPr>
              <a:t>Project delays or cancellation</a:t>
            </a:r>
          </a:p>
          <a:p>
            <a:pPr marL="684213" marR="0" indent="-230188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+mn-cs"/>
              </a:rPr>
              <a:t>Cancellation of the PPA</a:t>
            </a:r>
          </a:p>
          <a:p>
            <a:pPr marL="684213" marR="0" indent="-230188" fontAlgn="auto" latinLnBrk="0">
              <a:lnSpc>
                <a:spcPct val="100000"/>
              </a:lnSpc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  <a:cs typeface="+mn-cs"/>
              </a:rPr>
              <a:t>Exclusion of bidder and/or project from future rounds.</a:t>
            </a:r>
          </a:p>
        </p:txBody>
      </p:sp>
      <p:sp>
        <p:nvSpPr>
          <p:cNvPr id="30" name="Content Placeholder 6">
            <a:extLst>
              <a:ext uri="{FF2B5EF4-FFF2-40B4-BE49-F238E27FC236}">
                <a16:creationId xmlns:a16="http://schemas.microsoft.com/office/drawing/2014/main" id="{25D90890-244E-4111-B2CD-436DDD8FA188}"/>
              </a:ext>
            </a:extLst>
          </p:cNvPr>
          <p:cNvSpPr txBox="1">
            <a:spLocks/>
          </p:cNvSpPr>
          <p:nvPr/>
        </p:nvSpPr>
        <p:spPr bwMode="auto">
          <a:xfrm>
            <a:off x="4882243" y="4953000"/>
            <a:ext cx="4120243" cy="283030"/>
          </a:xfrm>
          <a:prstGeom prst="rect">
            <a:avLst/>
          </a:prstGeom>
          <a:solidFill>
            <a:srgbClr val="E10040"/>
          </a:solidFill>
          <a:ln w="9525">
            <a:solidFill>
              <a:srgbClr val="E10040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n-ea"/>
              </a:rPr>
              <a:t>Country examples</a:t>
            </a:r>
          </a:p>
        </p:txBody>
      </p:sp>
      <p:sp>
        <p:nvSpPr>
          <p:cNvPr id="31" name="Content Placeholder 6">
            <a:extLst>
              <a:ext uri="{FF2B5EF4-FFF2-40B4-BE49-F238E27FC236}">
                <a16:creationId xmlns:a16="http://schemas.microsoft.com/office/drawing/2014/main" id="{DC4B994D-56EA-47D8-BBD5-BEBAD570D55D}"/>
              </a:ext>
            </a:extLst>
          </p:cNvPr>
          <p:cNvSpPr txBox="1">
            <a:spLocks/>
          </p:cNvSpPr>
          <p:nvPr/>
        </p:nvSpPr>
        <p:spPr bwMode="auto">
          <a:xfrm>
            <a:off x="4882243" y="5247689"/>
            <a:ext cx="4120243" cy="1450289"/>
          </a:xfrm>
          <a:prstGeom prst="rect">
            <a:avLst/>
          </a:prstGeom>
          <a:noFill/>
          <a:ln w="9525">
            <a:solidFill>
              <a:srgbClr val="E10040"/>
            </a:solidFill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marL="230188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•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1pPr>
            <a:lvl2pPr marL="684213" indent="-230188" algn="l" defTabSz="457200" rtl="0" eaLnBrk="1" latinLnBrk="0" hangingPunct="1">
              <a:spcBef>
                <a:spcPts val="0"/>
              </a:spcBef>
              <a:spcAft>
                <a:spcPts val="1200"/>
              </a:spcAft>
              <a:buFont typeface="Arial"/>
              <a:buChar char="–"/>
              <a:defRPr sz="2000" b="0" i="0" kern="1200">
                <a:solidFill>
                  <a:srgbClr val="635C5B"/>
                </a:solidFill>
                <a:latin typeface="Gill Sans MT"/>
                <a:ea typeface="+mn-ea"/>
                <a:cs typeface="Gill Sans MT"/>
              </a:defRPr>
            </a:lvl2pPr>
            <a:lvl3pPr marL="914400" indent="-230188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18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3pPr>
            <a:lvl4pPr marL="1146175" indent="-231775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6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4pPr>
            <a:lvl5pPr marL="1255713" indent="-230188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400" b="0" i="0" kern="1200">
                <a:solidFill>
                  <a:srgbClr val="6C6463"/>
                </a:solidFill>
                <a:latin typeface="Gill Sans MT"/>
                <a:ea typeface="+mn-ea"/>
                <a:cs typeface="Gill Sans MT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10000"/>
              </a:lnSpc>
              <a:spcAft>
                <a:spcPts val="0"/>
              </a:spcAf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Zambia: termination</a:t>
            </a:r>
            <a:r>
              <a:rPr kumimoji="0" lang="en-US" sz="16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</a:rPr>
              <a:t> of PPA if longstop deadline missed.</a:t>
            </a:r>
          </a:p>
          <a:p>
            <a:pPr fontAlgn="auto">
              <a:lnSpc>
                <a:spcPct val="110000"/>
              </a:lnSpc>
              <a:spcAft>
                <a:spcPts val="0"/>
              </a:spcAft>
              <a:defRPr/>
            </a:pPr>
            <a:r>
              <a:rPr lang="en-US" sz="1600" baseline="0" dirty="0">
                <a:solidFill>
                  <a:schemeClr val="tx1"/>
                </a:solidFill>
                <a:latin typeface="+mj-lt"/>
              </a:rPr>
              <a:t>South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 Africa: Reduction of PPA duration by 2 days/1 day of delay. Termination of PPA if deadline missed &gt; 180 days.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</a:endParaRPr>
          </a:p>
          <a:p>
            <a:pPr marL="0" marR="0" lvl="0" indent="0" algn="l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635C5B"/>
                </a:solidFill>
                <a:effectLst/>
                <a:uLnTx/>
                <a:uFillTx/>
                <a:latin typeface="+mj-lt"/>
                <a:ea typeface="+mn-ea"/>
              </a:rPr>
              <a:t> 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635C5B"/>
              </a:solidFill>
              <a:effectLst/>
              <a:uLnTx/>
              <a:uFillTx/>
              <a:latin typeface="+mj-lt"/>
              <a:ea typeface="+mn-ea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3BFFF77-E1DE-4C74-A88F-E79557A5F60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2497907">
            <a:off x="6520950" y="1710392"/>
            <a:ext cx="173833" cy="1116000"/>
          </a:xfrm>
          <a:prstGeom prst="rect">
            <a:avLst/>
          </a:prstGeom>
          <a:solidFill>
            <a:srgbClr val="BA0C2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3688C8F-83B4-4B76-BD53-3950036FDB4E}"/>
              </a:ext>
            </a:extLst>
          </p:cNvPr>
          <p:cNvSpPr txBox="1"/>
          <p:nvPr/>
        </p:nvSpPr>
        <p:spPr>
          <a:xfrm>
            <a:off x="5413150" y="2590800"/>
            <a:ext cx="2719559" cy="340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ts val="21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  <a:ea typeface="+mn-ea"/>
                <a:cs typeface="Arial"/>
              </a:rPr>
              <a:t>No/delayed realizatio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59166E1-05FB-4C57-BF42-95DD475164B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18909922">
            <a:off x="6576382" y="1703943"/>
            <a:ext cx="173833" cy="1116000"/>
          </a:xfrm>
          <a:prstGeom prst="rect">
            <a:avLst/>
          </a:prstGeom>
          <a:solidFill>
            <a:srgbClr val="BA0C2F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30165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 animBg="1"/>
      <p:bldP spid="30" grpId="0" animBg="1"/>
      <p:bldP spid="31" grpId="0" animBg="1"/>
      <p:bldP spid="32" grpId="0" animBg="1"/>
      <p:bldP spid="33" grpId="0"/>
      <p:bldP spid="34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7772400" cy="457200"/>
          </a:xfrm>
        </p:spPr>
        <p:txBody>
          <a:bodyPr/>
          <a:lstStyle/>
          <a:p>
            <a:pPr lvl="0"/>
            <a:r>
              <a:rPr lang="en-US" dirty="0"/>
              <a:t>Conclu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362200"/>
            <a:ext cx="7772400" cy="3429000"/>
          </a:xfrm>
        </p:spPr>
        <p:txBody>
          <a:bodyPr/>
          <a:lstStyle/>
          <a:p>
            <a:pPr lvl="0">
              <a:spcBef>
                <a:spcPts val="1200"/>
              </a:spcBef>
            </a:pPr>
            <a:r>
              <a:rPr lang="en-US" sz="1900" dirty="0"/>
              <a:t>Auction needs to be tailored to local policy preferences, market maturity and institutional readiness</a:t>
            </a:r>
          </a:p>
          <a:p>
            <a:pPr lvl="0">
              <a:spcBef>
                <a:spcPts val="1200"/>
              </a:spcBef>
            </a:pPr>
            <a:r>
              <a:rPr lang="en-US" sz="1900" dirty="0"/>
              <a:t>Auctions provide most volume control and price reduction potential – but market needs to have sufficient competition</a:t>
            </a:r>
          </a:p>
          <a:p>
            <a:pPr lvl="0">
              <a:spcBef>
                <a:spcPts val="1200"/>
              </a:spcBef>
            </a:pPr>
            <a:r>
              <a:rPr lang="de-DE" sz="1900" dirty="0"/>
              <a:t>S</a:t>
            </a:r>
            <a:r>
              <a:rPr lang="en-US" sz="1900" dirty="0" err="1"/>
              <a:t>ite</a:t>
            </a:r>
            <a:r>
              <a:rPr lang="en-US" sz="1900" dirty="0"/>
              <a:t> selection by government reduces bidder risk and eases grid integration but are more complex for the government</a:t>
            </a:r>
          </a:p>
          <a:p>
            <a:pPr lvl="0">
              <a:spcBef>
                <a:spcPts val="1200"/>
              </a:spcBef>
            </a:pPr>
            <a:r>
              <a:rPr lang="en-US" sz="1900" dirty="0"/>
              <a:t>Risk of underbidding and winners curse can be reduced through technical requirements and financial guarantees </a:t>
            </a:r>
            <a:r>
              <a:rPr lang="en-US" sz="1900" dirty="0">
                <a:sym typeface="Wingdings" panose="05000000000000000000" pitchFamily="2" charset="2"/>
              </a:rPr>
              <a:t> </a:t>
            </a:r>
            <a:r>
              <a:rPr lang="en-US" sz="1900" dirty="0"/>
              <a:t>bidders can better estimate cost covering bids and have incentive to realize (also learning from winner’s curse experiment)</a:t>
            </a:r>
          </a:p>
        </p:txBody>
      </p:sp>
    </p:spTree>
    <p:extLst>
      <p:ext uri="{BB962C8B-B14F-4D97-AF65-F5344CB8AC3E}">
        <p14:creationId xmlns:p14="http://schemas.microsoft.com/office/powerpoint/2010/main" val="4524447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FD78D8-252F-4992-86B1-D4D329D04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23733263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524000"/>
            <a:ext cx="7772400" cy="457200"/>
          </a:xfrm>
        </p:spPr>
        <p:txBody>
          <a:bodyPr/>
          <a:lstStyle/>
          <a:p>
            <a:pPr algn="ctr"/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362200"/>
            <a:ext cx="7772400" cy="3429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sz="1900" dirty="0"/>
              <a:t>Overview on difference administratively-set FITs, bilateral deals, auctions and their applicability</a:t>
            </a:r>
          </a:p>
          <a:p>
            <a:pPr>
              <a:spcBef>
                <a:spcPts val="1200"/>
              </a:spcBef>
            </a:pPr>
            <a:r>
              <a:rPr lang="en-US" sz="1900" dirty="0"/>
              <a:t>The auction design process and design elements</a:t>
            </a:r>
          </a:p>
          <a:p>
            <a:pPr>
              <a:spcBef>
                <a:spcPts val="1200"/>
              </a:spcBef>
            </a:pPr>
            <a:r>
              <a:rPr lang="en-US" sz="1900" dirty="0"/>
              <a:t>Simulation to understand the problem of the winner’s curse and how it can be addressed</a:t>
            </a:r>
          </a:p>
          <a:p>
            <a:pPr>
              <a:spcBef>
                <a:spcPts val="1200"/>
              </a:spcBef>
            </a:pPr>
            <a:r>
              <a:rPr lang="en-US" sz="1900" dirty="0"/>
              <a:t>Site-selected vs bidder-selected auctions</a:t>
            </a:r>
          </a:p>
          <a:p>
            <a:pPr>
              <a:spcBef>
                <a:spcPts val="1200"/>
              </a:spcBef>
            </a:pPr>
            <a:r>
              <a:rPr lang="de-DE" sz="1900" dirty="0"/>
              <a:t>H</a:t>
            </a:r>
            <a:r>
              <a:rPr lang="en-US" sz="1900" dirty="0"/>
              <a:t>ow to set ceiling prices</a:t>
            </a:r>
          </a:p>
          <a:p>
            <a:pPr>
              <a:spcBef>
                <a:spcPts val="1200"/>
              </a:spcBef>
            </a:pPr>
            <a:r>
              <a:rPr lang="en-US" sz="1900" dirty="0"/>
              <a:t>Technical requirements, financial guarantees and penalties to ensure project realization</a:t>
            </a:r>
          </a:p>
          <a:p>
            <a:pPr>
              <a:spcBef>
                <a:spcPts val="1200"/>
              </a:spcBef>
            </a:pPr>
            <a:r>
              <a:rPr lang="en-US" sz="1900" dirty="0"/>
              <a:t>Conclusion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88411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295400"/>
            <a:ext cx="7772400" cy="457200"/>
          </a:xfrm>
        </p:spPr>
        <p:txBody>
          <a:bodyPr/>
          <a:lstStyle/>
          <a:p>
            <a:pPr algn="ctr"/>
            <a:r>
              <a:rPr lang="en-US" dirty="0"/>
              <a:t>Feed-in tariffs provide high certainty for developers, but little volume control and price competition</a:t>
            </a:r>
          </a:p>
        </p:txBody>
      </p:sp>
      <p:grpSp>
        <p:nvGrpSpPr>
          <p:cNvPr id="31" name="Group 30" descr="A bar graph describing renumeration for realized and non realized projects">
            <a:extLst>
              <a:ext uri="{FF2B5EF4-FFF2-40B4-BE49-F238E27FC236}">
                <a16:creationId xmlns:a16="http://schemas.microsoft.com/office/drawing/2014/main" id="{5983F637-75FB-4D7C-A8F8-87DFBCCDFDD7}"/>
              </a:ext>
            </a:extLst>
          </p:cNvPr>
          <p:cNvGrpSpPr/>
          <p:nvPr/>
        </p:nvGrpSpPr>
        <p:grpSpPr>
          <a:xfrm>
            <a:off x="240324" y="4051542"/>
            <a:ext cx="4492760" cy="2275059"/>
            <a:chOff x="55640" y="2589984"/>
            <a:chExt cx="4492760" cy="2275059"/>
          </a:xfrm>
        </p:grpSpPr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1BDBE912-F83B-4FFF-B896-D47CABD1C3D1}"/>
                </a:ext>
              </a:extLst>
            </p:cNvPr>
            <p:cNvGrpSpPr/>
            <p:nvPr/>
          </p:nvGrpSpPr>
          <p:grpSpPr>
            <a:xfrm>
              <a:off x="55640" y="2589984"/>
              <a:ext cx="4220379" cy="2275059"/>
              <a:chOff x="22982" y="2589984"/>
              <a:chExt cx="4220379" cy="2275059"/>
            </a:xfrm>
          </p:grpSpPr>
          <p:sp>
            <p:nvSpPr>
              <p:cNvPr id="34" name="Rectangle 62">
                <a:extLst>
                  <a:ext uri="{FF2B5EF4-FFF2-40B4-BE49-F238E27FC236}">
                    <a16:creationId xmlns:a16="http://schemas.microsoft.com/office/drawing/2014/main" id="{E8308F20-464F-4D53-9041-560CB11614A0}"/>
                  </a:ext>
                </a:extLst>
              </p:cNvPr>
              <p:cNvSpPr/>
              <p:nvPr/>
            </p:nvSpPr>
            <p:spPr bwMode="auto">
              <a:xfrm>
                <a:off x="1678226" y="2919034"/>
                <a:ext cx="176600" cy="123619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" name="TextBox 17">
                <a:extLst>
                  <a:ext uri="{FF2B5EF4-FFF2-40B4-BE49-F238E27FC236}">
                    <a16:creationId xmlns:a16="http://schemas.microsoft.com/office/drawing/2014/main" id="{C71E8221-129B-411B-9832-73F27401E6BE}"/>
                  </a:ext>
                </a:extLst>
              </p:cNvPr>
              <p:cNvSpPr txBox="1"/>
              <p:nvPr/>
            </p:nvSpPr>
            <p:spPr>
              <a:xfrm>
                <a:off x="1809677" y="2830930"/>
                <a:ext cx="1866217" cy="52322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defPPr>
                  <a:defRPr lang="de-DE"/>
                </a:defPPr>
                <a:lvl1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kumimoji="0" sz="1100" b="0" i="0" u="none" strike="noStrike" kern="0" cap="none" spc="0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</a:defRPr>
                </a:lvl1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alized project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on realized projects</a:t>
                </a:r>
              </a:p>
            </p:txBody>
          </p:sp>
          <p:sp>
            <p:nvSpPr>
              <p:cNvPr id="36" name="TextBox 22">
                <a:extLst>
                  <a:ext uri="{FF2B5EF4-FFF2-40B4-BE49-F238E27FC236}">
                    <a16:creationId xmlns:a16="http://schemas.microsoft.com/office/drawing/2014/main" id="{6CB4FB34-D7E5-4A44-B05C-6C4890F7CF13}"/>
                  </a:ext>
                </a:extLst>
              </p:cNvPr>
              <p:cNvSpPr txBox="1"/>
              <p:nvPr/>
            </p:nvSpPr>
            <p:spPr>
              <a:xfrm>
                <a:off x="58282" y="2589984"/>
                <a:ext cx="130837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Remuneration</a:t>
                </a: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0C1ECE06-D6C8-450C-BB6A-E8C5F98DD845}"/>
                  </a:ext>
                </a:extLst>
              </p:cNvPr>
              <p:cNvSpPr txBox="1"/>
              <p:nvPr/>
            </p:nvSpPr>
            <p:spPr>
              <a:xfrm>
                <a:off x="22982" y="3429000"/>
                <a:ext cx="870007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BA0C2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efined tariff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E03E6252-472A-4FE6-B394-9D08C265BF05}"/>
                  </a:ext>
                </a:extLst>
              </p:cNvPr>
              <p:cNvSpPr/>
              <p:nvPr/>
            </p:nvSpPr>
            <p:spPr bwMode="auto">
              <a:xfrm>
                <a:off x="2383804" y="4195592"/>
                <a:ext cx="103323" cy="657048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7366B108-C2EA-440F-BA95-CDF3F8D9154D}"/>
                  </a:ext>
                </a:extLst>
              </p:cNvPr>
              <p:cNvSpPr/>
              <p:nvPr/>
            </p:nvSpPr>
            <p:spPr bwMode="auto">
              <a:xfrm>
                <a:off x="935203" y="4131980"/>
                <a:ext cx="69950" cy="713630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F106CF24-0E22-48E4-B874-1FB47211882E}"/>
                  </a:ext>
                </a:extLst>
              </p:cNvPr>
              <p:cNvSpPr/>
              <p:nvPr/>
            </p:nvSpPr>
            <p:spPr bwMode="auto">
              <a:xfrm>
                <a:off x="2028955" y="4141673"/>
                <a:ext cx="358637" cy="713630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84F4B421-26C2-4A8D-8E3E-8AD40297F763}"/>
                  </a:ext>
                </a:extLst>
              </p:cNvPr>
              <p:cNvSpPr/>
              <p:nvPr/>
            </p:nvSpPr>
            <p:spPr bwMode="auto">
              <a:xfrm>
                <a:off x="1016181" y="3944370"/>
                <a:ext cx="322643" cy="898407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9FD2282E-2062-4808-AB91-F690E349672C}"/>
                  </a:ext>
                </a:extLst>
              </p:cNvPr>
              <p:cNvSpPr/>
              <p:nvPr/>
            </p:nvSpPr>
            <p:spPr bwMode="auto">
              <a:xfrm>
                <a:off x="1831350" y="3732567"/>
                <a:ext cx="194308" cy="1112771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C36C9250-CA2B-4840-ABB4-5D86A90D8F99}"/>
                  </a:ext>
                </a:extLst>
              </p:cNvPr>
              <p:cNvSpPr/>
              <p:nvPr/>
            </p:nvSpPr>
            <p:spPr bwMode="auto">
              <a:xfrm>
                <a:off x="1337541" y="3559492"/>
                <a:ext cx="287977" cy="1294215"/>
              </a:xfrm>
              <a:prstGeom prst="rect">
                <a:avLst/>
              </a:prstGeom>
              <a:noFill/>
              <a:ln w="9525" cap="flat" cmpd="sng" algn="ctr">
                <a:solidFill>
                  <a:srgbClr val="AFD4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4FF244D3-56DC-43BC-84D5-9A45FE9AECC2}"/>
                  </a:ext>
                </a:extLst>
              </p:cNvPr>
              <p:cNvSpPr/>
              <p:nvPr/>
            </p:nvSpPr>
            <p:spPr bwMode="auto">
              <a:xfrm>
                <a:off x="2494798" y="3529027"/>
                <a:ext cx="321852" cy="1317177"/>
              </a:xfrm>
              <a:prstGeom prst="rect">
                <a:avLst/>
              </a:prstGeom>
              <a:noFill/>
              <a:ln w="9525" cap="flat" cmpd="sng" algn="ctr">
                <a:solidFill>
                  <a:srgbClr val="AFD4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DC4C4914-4171-42BA-BDB5-959F74CCAD5C}"/>
                  </a:ext>
                </a:extLst>
              </p:cNvPr>
              <p:cNvSpPr/>
              <p:nvPr/>
            </p:nvSpPr>
            <p:spPr bwMode="auto">
              <a:xfrm>
                <a:off x="2965706" y="3712627"/>
                <a:ext cx="1009876" cy="1137527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endParaRPr>
              </a:p>
            </p:txBody>
          </p: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40D0FA06-4099-4B41-AC9D-94EA30ECD0DF}"/>
                  </a:ext>
                </a:extLst>
              </p:cNvPr>
              <p:cNvSpPr/>
              <p:nvPr/>
            </p:nvSpPr>
            <p:spPr bwMode="auto">
              <a:xfrm>
                <a:off x="1627313" y="3875259"/>
                <a:ext cx="206627" cy="970080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57673EB2-CB15-436E-B77F-4982296364FA}"/>
                  </a:ext>
                </a:extLst>
              </p:cNvPr>
              <p:cNvSpPr/>
              <p:nvPr/>
            </p:nvSpPr>
            <p:spPr bwMode="auto">
              <a:xfrm>
                <a:off x="3962110" y="3363142"/>
                <a:ext cx="250756" cy="1483733"/>
              </a:xfrm>
              <a:prstGeom prst="rect">
                <a:avLst/>
              </a:prstGeom>
              <a:noFill/>
              <a:ln w="9525" cap="flat" cmpd="sng" algn="ctr">
                <a:solidFill>
                  <a:srgbClr val="AFD4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48" name="Straight Arrow Connector 47">
                <a:extLst>
                  <a:ext uri="{FF2B5EF4-FFF2-40B4-BE49-F238E27FC236}">
                    <a16:creationId xmlns:a16="http://schemas.microsoft.com/office/drawing/2014/main" id="{165AE8DA-939B-48E3-B5DF-08D87E144A63}"/>
                  </a:ext>
                </a:extLst>
              </p:cNvPr>
              <p:cNvCxnSpPr/>
              <p:nvPr/>
            </p:nvCxnSpPr>
            <p:spPr bwMode="auto">
              <a:xfrm flipV="1">
                <a:off x="930856" y="2838672"/>
                <a:ext cx="0" cy="2026371"/>
              </a:xfrm>
              <a:prstGeom prst="straightConnector1">
                <a:avLst/>
              </a:prstGeom>
              <a:solidFill>
                <a:srgbClr val="002F6C"/>
              </a:solidFill>
              <a:ln w="19050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27AEF802-729C-484D-951F-85DF6F0EF59E}"/>
                  </a:ext>
                </a:extLst>
              </p:cNvPr>
              <p:cNvCxnSpPr/>
              <p:nvPr/>
            </p:nvCxnSpPr>
            <p:spPr bwMode="auto">
              <a:xfrm flipH="1" flipV="1">
                <a:off x="895189" y="3593374"/>
                <a:ext cx="3348172" cy="570"/>
              </a:xfrm>
              <a:prstGeom prst="line">
                <a:avLst/>
              </a:prstGeom>
              <a:solidFill>
                <a:srgbClr val="002F6C"/>
              </a:solidFill>
              <a:ln w="28575" cap="flat" cmpd="sng" algn="ctr">
                <a:solidFill>
                  <a:srgbClr val="BA0C2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50" name="Rectangle 60">
                <a:extLst>
                  <a:ext uri="{FF2B5EF4-FFF2-40B4-BE49-F238E27FC236}">
                    <a16:creationId xmlns:a16="http://schemas.microsoft.com/office/drawing/2014/main" id="{A636E81B-EDDC-4452-8D4A-ADC48110CDE6}"/>
                  </a:ext>
                </a:extLst>
              </p:cNvPr>
              <p:cNvSpPr/>
              <p:nvPr/>
            </p:nvSpPr>
            <p:spPr bwMode="auto">
              <a:xfrm>
                <a:off x="1678226" y="3083408"/>
                <a:ext cx="176600" cy="12361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AFD4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56216D82-C8E6-4E6D-B8A3-A3F7152D882A}"/>
                  </a:ext>
                </a:extLst>
              </p:cNvPr>
              <p:cNvSpPr/>
              <p:nvPr/>
            </p:nvSpPr>
            <p:spPr bwMode="auto">
              <a:xfrm>
                <a:off x="2824596" y="3678416"/>
                <a:ext cx="130799" cy="1168522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 charset="0"/>
                </a:endParaRPr>
              </a:p>
            </p:txBody>
          </p:sp>
        </p:grp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9C213C49-4A4B-4297-8662-7C08CA8B845C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963514" y="4850154"/>
              <a:ext cx="3584886" cy="0"/>
            </a:xfrm>
            <a:prstGeom prst="straightConnector1">
              <a:avLst/>
            </a:prstGeom>
            <a:solidFill>
              <a:srgbClr val="002F6C"/>
            </a:solidFill>
            <a:ln w="190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C361065D-1DA7-4C5E-A78F-2CB3A6DAA9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381000" y="2209800"/>
            <a:ext cx="4356410" cy="16014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" name="Content Placeholder 209">
            <a:extLst>
              <a:ext uri="{FF2B5EF4-FFF2-40B4-BE49-F238E27FC236}">
                <a16:creationId xmlns:a16="http://schemas.microsoft.com/office/drawing/2014/main" id="{DFB7DCCB-8C6B-4C2A-9A21-4F3D407CB2DA}"/>
              </a:ext>
            </a:extLst>
          </p:cNvPr>
          <p:cNvSpPr txBox="1">
            <a:spLocks/>
          </p:cNvSpPr>
          <p:nvPr/>
        </p:nvSpPr>
        <p:spPr>
          <a:xfrm>
            <a:off x="933028" y="2278099"/>
            <a:ext cx="4027488" cy="974773"/>
          </a:xfrm>
          <a:prstGeom prst="rect">
            <a:avLst/>
          </a:prstGeom>
        </p:spPr>
        <p:txBody>
          <a:bodyPr/>
          <a:lstStyle>
            <a:lvl1pPr marL="230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8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60375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-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1027113" indent="-3444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3188" indent="-3444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Palatino Linotype" pitchFamily="18" charset="0"/>
              <a:buChar char="◦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7176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Palatino Linotype" pitchFamily="18" charset="0"/>
              <a:buChar char="▫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55759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ministratively-set Feed-in tariff</a:t>
            </a:r>
          </a:p>
          <a:p>
            <a:pPr marL="230188" marR="0" lvl="0" indent="-2301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55759">
                  <a:lumMod val="5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vernment sets price (experts) </a:t>
            </a:r>
          </a:p>
          <a:p>
            <a:pPr marL="230188" marR="0" lvl="0" indent="-2301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55759">
                  <a:lumMod val="5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ket determines volume (projects)</a:t>
            </a:r>
          </a:p>
          <a:p>
            <a:pPr marL="230188" marR="0" lvl="0" indent="-2301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55759">
                  <a:lumMod val="5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jects can be built until volume/budget cap is reached</a:t>
            </a:r>
          </a:p>
          <a:p>
            <a:pPr marL="230188" marR="0" lvl="0" indent="-2301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55759">
                  <a:lumMod val="5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55759">
                  <a:lumMod val="50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30188" marR="0" lvl="0" indent="-230188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30188" marR="0" lvl="0" indent="-230188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30188" marR="0" lvl="0" indent="-230188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36D1F1F2-AC1A-4779-8626-8977C34745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-111711" y="2905800"/>
            <a:ext cx="1404000" cy="252000"/>
          </a:xfrm>
          <a:prstGeom prst="triangle">
            <a:avLst/>
          </a:prstGeom>
          <a:solidFill>
            <a:srgbClr val="1E4ABD"/>
          </a:solidFill>
          <a:ln w="12700" cap="flat" cmpd="sng" algn="ctr">
            <a:solidFill>
              <a:srgbClr val="1E4A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5" name="Table 54">
            <a:extLst>
              <a:ext uri="{FF2B5EF4-FFF2-40B4-BE49-F238E27FC236}">
                <a16:creationId xmlns:a16="http://schemas.microsoft.com/office/drawing/2014/main" id="{82E37194-884C-46B9-AB56-3B35289689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7731801"/>
              </p:ext>
            </p:extLst>
          </p:nvPr>
        </p:nvGraphicFramePr>
        <p:xfrm>
          <a:off x="4998382" y="2194560"/>
          <a:ext cx="4027487" cy="451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90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383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30850">
                <a:tc>
                  <a:txBody>
                    <a:bodyPr/>
                    <a:lstStyle/>
                    <a:p>
                      <a:pPr algn="ctr"/>
                      <a:endParaRPr lang="en-US" sz="1400" cap="all" baseline="0" noProof="0" dirty="0">
                        <a:effectLst/>
                        <a:latin typeface="+mj-lt"/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cap="all" baseline="0" noProof="0" dirty="0">
                          <a:effectLst/>
                          <a:latin typeface="+mj-lt"/>
                        </a:rPr>
                        <a:t>Feed-in Tariff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2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Policy goals</a:t>
                      </a:r>
                    </a:p>
                  </a:txBody>
                  <a:tcP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</a:rPr>
                        <a:t>+ Secure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revenue streams help less mature technologies and small project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</a:rPr>
                        <a:t>- Slow in reacting to market price changes, less competitive pressur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</a:rPr>
                        <a:t>- Low volume control </a:t>
                      </a:r>
                    </a:p>
                  </a:txBody>
                  <a:tcP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359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Market maturity</a:t>
                      </a: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</a:rPr>
                        <a:t>+ Not much 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m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arket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maturity, competition and RE market knowledge required</a:t>
                      </a:r>
                      <a:endParaRPr lang="en-US" sz="1600" noProof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83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>
                          <a:solidFill>
                            <a:schemeClr val="tx1"/>
                          </a:solidFill>
                          <a:latin typeface="+mj-lt"/>
                        </a:rPr>
                        <a:t>Institutional capacity</a:t>
                      </a: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rgbClr val="555759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j-lt"/>
                        </a:rPr>
                        <a:t>o Experts to calculate and regularly update tariff, but procurement easier and flexible</a:t>
                      </a: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3749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914867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371600"/>
            <a:ext cx="7772400" cy="457200"/>
          </a:xfrm>
        </p:spPr>
        <p:txBody>
          <a:bodyPr/>
          <a:lstStyle/>
          <a:p>
            <a:pPr algn="ctr"/>
            <a:r>
              <a:rPr lang="en-US" dirty="0"/>
              <a:t>Bilateral deals suitable for less mature markets, but are less scalable and transparent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3A0C6277-DEE0-4F05-B292-895949F628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15590" y="2313829"/>
            <a:ext cx="4356410" cy="149617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F2D501AA-47A8-4DD7-AF7C-7B97B069E12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-244874" y="2974480"/>
            <a:ext cx="1368000" cy="223504"/>
          </a:xfrm>
          <a:prstGeom prst="triangle">
            <a:avLst>
              <a:gd name="adj" fmla="val 50859"/>
            </a:avLst>
          </a:prstGeom>
          <a:solidFill>
            <a:srgbClr val="1E4ABD"/>
          </a:solidFill>
          <a:ln w="12700" cap="flat" cmpd="sng" algn="ctr">
            <a:solidFill>
              <a:srgbClr val="1E4A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4" name="Group 73" descr="renumeration bar graph showing columns a, b and c for preferred bids and non preferred bids, with the shortest column, A, being highlighted to represent the preferred bid. ">
            <a:extLst>
              <a:ext uri="{FF2B5EF4-FFF2-40B4-BE49-F238E27FC236}">
                <a16:creationId xmlns:a16="http://schemas.microsoft.com/office/drawing/2014/main" id="{B62206B1-869D-4D11-8492-0473C6C64243}"/>
              </a:ext>
            </a:extLst>
          </p:cNvPr>
          <p:cNvGrpSpPr/>
          <p:nvPr/>
        </p:nvGrpSpPr>
        <p:grpSpPr>
          <a:xfrm>
            <a:off x="27328" y="3836866"/>
            <a:ext cx="4685717" cy="2868734"/>
            <a:chOff x="152290" y="2575070"/>
            <a:chExt cx="4685717" cy="2868734"/>
          </a:xfrm>
        </p:grpSpPr>
        <p:sp>
          <p:nvSpPr>
            <p:cNvPr id="75" name="TextBox 22">
              <a:extLst>
                <a:ext uri="{FF2B5EF4-FFF2-40B4-BE49-F238E27FC236}">
                  <a16:creationId xmlns:a16="http://schemas.microsoft.com/office/drawing/2014/main" id="{89AFCEA4-76B4-4C3F-994A-D2037AC63649}"/>
                </a:ext>
              </a:extLst>
            </p:cNvPr>
            <p:cNvSpPr txBox="1"/>
            <p:nvPr/>
          </p:nvSpPr>
          <p:spPr>
            <a:xfrm>
              <a:off x="249350" y="2575070"/>
              <a:ext cx="114646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emuneration</a:t>
              </a:r>
            </a:p>
          </p:txBody>
        </p: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52444F84-F55F-4C63-AE2B-BD04E27448E7}"/>
                </a:ext>
              </a:extLst>
            </p:cNvPr>
            <p:cNvCxnSpPr>
              <a:cxnSpLocks/>
            </p:cNvCxnSpPr>
            <p:nvPr/>
          </p:nvCxnSpPr>
          <p:spPr bwMode="auto">
            <a:xfrm flipH="1" flipV="1">
              <a:off x="1255317" y="3681990"/>
              <a:ext cx="1323248" cy="13448"/>
            </a:xfrm>
            <a:prstGeom prst="line">
              <a:avLst/>
            </a:prstGeom>
            <a:solidFill>
              <a:srgbClr val="002F6C"/>
            </a:solidFill>
            <a:ln w="19050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36564A37-DB8B-4DE1-A8AA-F6A2FFE1ECAA}"/>
                </a:ext>
              </a:extLst>
            </p:cNvPr>
            <p:cNvCxnSpPr>
              <a:cxnSpLocks/>
            </p:cNvCxnSpPr>
            <p:nvPr/>
          </p:nvCxnSpPr>
          <p:spPr bwMode="auto">
            <a:xfrm flipH="1">
              <a:off x="1000519" y="4912078"/>
              <a:ext cx="1031149" cy="0"/>
            </a:xfrm>
            <a:prstGeom prst="line">
              <a:avLst/>
            </a:prstGeom>
            <a:solidFill>
              <a:srgbClr val="002F6C"/>
            </a:solidFill>
            <a:ln w="28575" cap="flat" cmpd="sng" algn="ctr">
              <a:solidFill>
                <a:srgbClr val="BA0C2F"/>
              </a:solidFill>
              <a:prstDash val="solid"/>
              <a:round/>
              <a:headEnd type="triangle" w="med" len="med"/>
              <a:tailEnd type="triangl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24926839-7B67-4CED-A5B4-2C4EC07CAB1B}"/>
                </a:ext>
              </a:extLst>
            </p:cNvPr>
            <p:cNvGrpSpPr/>
            <p:nvPr/>
          </p:nvGrpSpPr>
          <p:grpSpPr>
            <a:xfrm>
              <a:off x="935660" y="2808904"/>
              <a:ext cx="3902347" cy="2634900"/>
              <a:chOff x="1163024" y="2882463"/>
              <a:chExt cx="3902347" cy="2634900"/>
            </a:xfrm>
          </p:grpSpPr>
          <p:sp>
            <p:nvSpPr>
              <p:cNvPr id="80" name="Rectangle 79">
                <a:extLst>
                  <a:ext uri="{FF2B5EF4-FFF2-40B4-BE49-F238E27FC236}">
                    <a16:creationId xmlns:a16="http://schemas.microsoft.com/office/drawing/2014/main" id="{E10B7A5C-A217-4B49-9BA8-E60C7BB5F867}"/>
                  </a:ext>
                </a:extLst>
              </p:cNvPr>
              <p:cNvSpPr/>
              <p:nvPr/>
            </p:nvSpPr>
            <p:spPr>
              <a:xfrm>
                <a:off x="1163024" y="5055698"/>
                <a:ext cx="3902347" cy="46166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BA0C2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Defined volum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BA0C2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Capacity (kW), production (kWh), budget, grid capacity</a:t>
                </a: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BA0C2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1" name="TextBox 17">
                <a:extLst>
                  <a:ext uri="{FF2B5EF4-FFF2-40B4-BE49-F238E27FC236}">
                    <a16:creationId xmlns:a16="http://schemas.microsoft.com/office/drawing/2014/main" id="{C55E2135-A28D-4C50-A1D1-9AF9A14B5B5D}"/>
                  </a:ext>
                </a:extLst>
              </p:cNvPr>
              <p:cNvSpPr txBox="1"/>
              <p:nvPr/>
            </p:nvSpPr>
            <p:spPr>
              <a:xfrm>
                <a:off x="2026824" y="2882463"/>
                <a:ext cx="2271776" cy="646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Preferred bid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Qualified, non-preferred bidder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82" name="Rectangle 60">
                <a:extLst>
                  <a:ext uri="{FF2B5EF4-FFF2-40B4-BE49-F238E27FC236}">
                    <a16:creationId xmlns:a16="http://schemas.microsoft.com/office/drawing/2014/main" id="{BBF4A1B5-04B9-4A88-8E98-6DB011DF9285}"/>
                  </a:ext>
                </a:extLst>
              </p:cNvPr>
              <p:cNvSpPr/>
              <p:nvPr/>
            </p:nvSpPr>
            <p:spPr bwMode="auto">
              <a:xfrm>
                <a:off x="1894614" y="3127364"/>
                <a:ext cx="176600" cy="123619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AFD4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3" name="Rectangle 62">
                <a:extLst>
                  <a:ext uri="{FF2B5EF4-FFF2-40B4-BE49-F238E27FC236}">
                    <a16:creationId xmlns:a16="http://schemas.microsoft.com/office/drawing/2014/main" id="{555ADE24-BB76-4797-B293-54241069A8F1}"/>
                  </a:ext>
                </a:extLst>
              </p:cNvPr>
              <p:cNvSpPr/>
              <p:nvPr/>
            </p:nvSpPr>
            <p:spPr bwMode="auto">
              <a:xfrm>
                <a:off x="1894614" y="2964210"/>
                <a:ext cx="176600" cy="123619"/>
              </a:xfrm>
              <a:prstGeom prst="rect">
                <a:avLst/>
              </a:prstGeom>
              <a:solidFill>
                <a:srgbClr val="1E4ABD"/>
              </a:solidFill>
              <a:ln w="9525" cap="flat" cmpd="sng" algn="ctr">
                <a:solidFill>
                  <a:srgbClr val="1E4A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71D97E56-F3E8-4B3F-8D1C-FCB36F05EBEE}"/>
                  </a:ext>
                </a:extLst>
              </p:cNvPr>
              <p:cNvSpPr/>
              <p:nvPr/>
            </p:nvSpPr>
            <p:spPr bwMode="auto">
              <a:xfrm>
                <a:off x="1249002" y="3718197"/>
                <a:ext cx="1029840" cy="1209110"/>
              </a:xfrm>
              <a:prstGeom prst="rect">
                <a:avLst/>
              </a:prstGeom>
              <a:solidFill>
                <a:srgbClr val="1E4ABD"/>
              </a:solidFill>
              <a:ln w="9525" cap="flat" cmpd="sng" algn="ctr">
                <a:solidFill>
                  <a:schemeClr val="accent1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300" b="1" i="0" u="none" strike="noStrike" kern="0" cap="none" spc="0" normalizeH="0" baseline="0" noProof="0">
                    <a:ln>
                      <a:noFill/>
                    </a:ln>
                    <a:solidFill>
                      <a:schemeClr val="accent3"/>
                    </a:solidFill>
                    <a:effectLst/>
                    <a:uLnTx/>
                    <a:uFillTx/>
                    <a:latin typeface="Verdana" pitchFamily="34" charset="0"/>
                    <a:ea typeface="+mn-ea"/>
                    <a:cs typeface="Arial" charset="0"/>
                  </a:rPr>
                  <a:t>A</a:t>
                </a: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3F234211-B9B6-4789-A22E-2F231A17E48B}"/>
                  </a:ext>
                </a:extLst>
              </p:cNvPr>
              <p:cNvSpPr/>
              <p:nvPr/>
            </p:nvSpPr>
            <p:spPr bwMode="auto">
              <a:xfrm>
                <a:off x="2267449" y="3629230"/>
                <a:ext cx="1027471" cy="1297016"/>
              </a:xfrm>
              <a:prstGeom prst="rect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1E4A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300" b="1" i="0" u="none" strike="noStrike" kern="0" cap="none" spc="0" normalizeH="0" baseline="0" noProof="0">
                    <a:ln>
                      <a:noFill/>
                    </a:ln>
                    <a:solidFill>
                      <a:srgbClr val="6C6463"/>
                    </a:solidFill>
                    <a:effectLst/>
                    <a:uLnTx/>
                    <a:uFillTx/>
                    <a:latin typeface="Verdana" pitchFamily="34" charset="0"/>
                    <a:ea typeface="+mn-ea"/>
                    <a:cs typeface="Arial" charset="0"/>
                  </a:rPr>
                  <a:t>B</a:t>
                </a: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endParaRPr>
              </a:p>
            </p:txBody>
          </p:sp>
          <p:sp>
            <p:nvSpPr>
              <p:cNvPr id="86" name="Rectangle 85">
                <a:extLst>
                  <a:ext uri="{FF2B5EF4-FFF2-40B4-BE49-F238E27FC236}">
                    <a16:creationId xmlns:a16="http://schemas.microsoft.com/office/drawing/2014/main" id="{68B32E18-0801-46F9-99F2-DE1D965CB6C0}"/>
                  </a:ext>
                </a:extLst>
              </p:cNvPr>
              <p:cNvSpPr/>
              <p:nvPr/>
            </p:nvSpPr>
            <p:spPr bwMode="auto">
              <a:xfrm>
                <a:off x="3303616" y="3445250"/>
                <a:ext cx="1021233" cy="1483734"/>
              </a:xfrm>
              <a:prstGeom prst="rect">
                <a:avLst/>
              </a:prstGeom>
              <a:noFill/>
              <a:ln w="9525" cap="flat" cmpd="sng" algn="ctr">
                <a:solidFill>
                  <a:srgbClr val="1E4ABD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3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C6463"/>
                    </a:solidFill>
                    <a:effectLst/>
                    <a:uLnTx/>
                    <a:uFillTx/>
                    <a:latin typeface="Verdana" pitchFamily="34" charset="0"/>
                    <a:ea typeface="+mn-ea"/>
                    <a:cs typeface="Arial" charset="0"/>
                  </a:rPr>
                  <a:t>C</a:t>
                </a:r>
                <a:endParaRPr kumimoji="0" lang="en-US" sz="1300" b="1" i="0" u="none" strike="noStrike" kern="0" cap="none" spc="0" normalizeH="0" baseline="0" noProof="0" dirty="0">
                  <a:ln>
                    <a:noFill/>
                  </a:ln>
                  <a:solidFill>
                    <a:srgbClr val="6C6463"/>
                  </a:solidFill>
                  <a:effectLst/>
                  <a:uLnTx/>
                  <a:uFillTx/>
                  <a:latin typeface="Verdana" pitchFamily="34" charset="0"/>
                  <a:ea typeface="+mn-ea"/>
                  <a:cs typeface="Arial" charset="0"/>
                </a:endParaRPr>
              </a:p>
            </p:txBody>
          </p:sp>
          <p:cxnSp>
            <p:nvCxnSpPr>
              <p:cNvPr id="87" name="Straight Arrow Connector 86">
                <a:extLst>
                  <a:ext uri="{FF2B5EF4-FFF2-40B4-BE49-F238E27FC236}">
                    <a16:creationId xmlns:a16="http://schemas.microsoft.com/office/drawing/2014/main" id="{99D0627A-7E70-4999-91DC-426BD61BF175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>
                <a:off x="1226139" y="4937412"/>
                <a:ext cx="3564000" cy="1061"/>
              </a:xfrm>
              <a:prstGeom prst="straightConnector1">
                <a:avLst/>
              </a:prstGeom>
              <a:solidFill>
                <a:srgbClr val="002F6C"/>
              </a:solidFill>
              <a:ln w="19050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C23435CA-59C8-4014-A91E-99E02025A239}"/>
                  </a:ext>
                </a:extLst>
              </p:cNvPr>
              <p:cNvCxnSpPr>
                <a:cxnSpLocks/>
              </p:cNvCxnSpPr>
              <p:nvPr/>
            </p:nvCxnSpPr>
            <p:spPr bwMode="auto">
              <a:xfrm flipH="1">
                <a:off x="2267450" y="3412542"/>
                <a:ext cx="11392" cy="1518980"/>
              </a:xfrm>
              <a:prstGeom prst="line">
                <a:avLst/>
              </a:prstGeom>
              <a:solidFill>
                <a:srgbClr val="002F6C"/>
              </a:solidFill>
              <a:ln w="28575" cap="flat" cmpd="sng" algn="ctr">
                <a:solidFill>
                  <a:srgbClr val="BA0C2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Straight Arrow Connector 88">
                <a:extLst>
                  <a:ext uri="{FF2B5EF4-FFF2-40B4-BE49-F238E27FC236}">
                    <a16:creationId xmlns:a16="http://schemas.microsoft.com/office/drawing/2014/main" id="{EE24AC52-C0E9-437D-9D1B-858DF639D97D}"/>
                  </a:ext>
                </a:extLst>
              </p:cNvPr>
              <p:cNvCxnSpPr/>
              <p:nvPr/>
            </p:nvCxnSpPr>
            <p:spPr bwMode="auto">
              <a:xfrm flipV="1">
                <a:off x="1233058" y="2905150"/>
                <a:ext cx="0" cy="2026372"/>
              </a:xfrm>
              <a:prstGeom prst="straightConnector1">
                <a:avLst/>
              </a:prstGeom>
              <a:solidFill>
                <a:srgbClr val="002F6C"/>
              </a:solidFill>
              <a:ln w="19050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4F3BEF86-EFA8-484A-9E2D-8D39FCEDC230}"/>
                </a:ext>
              </a:extLst>
            </p:cNvPr>
            <p:cNvSpPr txBox="1"/>
            <p:nvPr/>
          </p:nvSpPr>
          <p:spPr>
            <a:xfrm>
              <a:off x="152290" y="3167253"/>
              <a:ext cx="829199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1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200" b="1" i="1" u="none" strike="noStrike" kern="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offered</a:t>
              </a:r>
              <a:endParaRPr kumimoji="0" lang="en-US" sz="1200" b="1" i="1" u="none" strike="noStrike" kern="0" cap="none" spc="0" normalizeH="0" baseline="0" noProof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1" u="none" strike="noStrike" kern="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ice</a:t>
              </a:r>
            </a:p>
          </p:txBody>
        </p:sp>
      </p:grpSp>
      <p:sp>
        <p:nvSpPr>
          <p:cNvPr id="90" name="Content Placeholder 209">
            <a:extLst>
              <a:ext uri="{FF2B5EF4-FFF2-40B4-BE49-F238E27FC236}">
                <a16:creationId xmlns:a16="http://schemas.microsoft.com/office/drawing/2014/main" id="{9F41E94F-5AB1-4693-B563-CC6DA2608D94}"/>
              </a:ext>
            </a:extLst>
          </p:cNvPr>
          <p:cNvSpPr txBox="1">
            <a:spLocks/>
          </p:cNvSpPr>
          <p:nvPr/>
        </p:nvSpPr>
        <p:spPr>
          <a:xfrm>
            <a:off x="767618" y="2334371"/>
            <a:ext cx="4027488" cy="974773"/>
          </a:xfrm>
          <a:prstGeom prst="rect">
            <a:avLst/>
          </a:prstGeom>
        </p:spPr>
        <p:txBody>
          <a:bodyPr/>
          <a:lstStyle>
            <a:lvl1pPr marL="230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8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60375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-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1027113" indent="-3444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3188" indent="-3444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Palatino Linotype" pitchFamily="18" charset="0"/>
              <a:buChar char="◦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7176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Palatino Linotype" pitchFamily="18" charset="0"/>
              <a:buChar char="▫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55759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5575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lateral deal</a:t>
            </a:r>
          </a:p>
          <a:p>
            <a:pPr marL="230188" marR="0" lvl="0" indent="-2301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55759">
                  <a:lumMod val="5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55759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vernment sets volume</a:t>
            </a:r>
          </a:p>
          <a:p>
            <a:pPr marL="230188" marR="0" lvl="0" indent="-2301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55759">
                  <a:lumMod val="5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55759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dders offer price </a:t>
            </a:r>
          </a:p>
          <a:p>
            <a:pPr marL="230188" marR="0" lvl="0" indent="-2301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55759">
                  <a:lumMod val="5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555759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55759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gotiation determines price/changes in size</a:t>
            </a:r>
          </a:p>
          <a:p>
            <a:pPr marL="230188" marR="0" lvl="0" indent="-230188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30188" marR="0" lvl="0" indent="-230188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30188" marR="0" lvl="0" indent="-230188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91" name="Table 90">
            <a:extLst>
              <a:ext uri="{FF2B5EF4-FFF2-40B4-BE49-F238E27FC236}">
                <a16:creationId xmlns:a16="http://schemas.microsoft.com/office/drawing/2014/main" id="{852DE813-B4D6-4A5C-84D8-23008E7C43F0}"/>
              </a:ext>
            </a:extLst>
          </p:cNvPr>
          <p:cNvGraphicFramePr>
            <a:graphicFrameLocks noGrp="1"/>
          </p:cNvGraphicFramePr>
          <p:nvPr/>
        </p:nvGraphicFramePr>
        <p:xfrm>
          <a:off x="4605972" y="2270760"/>
          <a:ext cx="4345018" cy="451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376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0739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30850">
                <a:tc>
                  <a:txBody>
                    <a:bodyPr/>
                    <a:lstStyle/>
                    <a:p>
                      <a:pPr algn="ctr"/>
                      <a:endParaRPr lang="en-US" sz="1600" cap="all" baseline="0" noProof="0" dirty="0">
                        <a:effectLst/>
                        <a:latin typeface="+mj-lt"/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cap="all" baseline="0" noProof="0" dirty="0">
                          <a:effectLst/>
                          <a:latin typeface="+mj-lt"/>
                        </a:rPr>
                        <a:t>Bilateral deal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2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Policy goals</a:t>
                      </a:r>
                    </a:p>
                  </a:txBody>
                  <a:tcP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indent="0">
                        <a:buClr>
                          <a:srgbClr val="555759"/>
                        </a:buClr>
                        <a:buFont typeface="Courier New" panose="02070309020205020404" pitchFamily="49" charset="0"/>
                        <a:buNone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 Volume control and higher flexibility to tailor projects than auction</a:t>
                      </a:r>
                    </a:p>
                    <a:p>
                      <a:pPr marL="936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759"/>
                        </a:buClr>
                        <a:buSzTx/>
                        <a:buFont typeface="Courier New" panose="02070309020205020404" pitchFamily="49" charset="0"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 Competitive price building mechanism but lower than auction</a:t>
                      </a:r>
                    </a:p>
                    <a:p>
                      <a:pPr marL="93663" indent="0">
                        <a:buClr>
                          <a:srgbClr val="555759"/>
                        </a:buClr>
                        <a:buFontTx/>
                        <a:buNone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Limited transparency</a:t>
                      </a:r>
                    </a:p>
                    <a:p>
                      <a:pPr marL="93663" indent="0">
                        <a:buClr>
                          <a:srgbClr val="555759"/>
                        </a:buClr>
                        <a:buFontTx/>
                        <a:buNone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n-lt"/>
                        </a:rPr>
                        <a:t>Risk of delayed realization due to negotiation stage</a:t>
                      </a:r>
                    </a:p>
                  </a:txBody>
                  <a:tcP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504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Market maturity</a:t>
                      </a: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759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n-lt"/>
                        </a:rPr>
                        <a:t>o </a:t>
                      </a: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etition needed but less than in auction</a:t>
                      </a:r>
                      <a:endParaRPr lang="en-US" sz="160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indent="0">
                        <a:buClr>
                          <a:srgbClr val="555759"/>
                        </a:buClr>
                        <a:buFont typeface="Arial" panose="020B0604020202020204" pitchFamily="34" charset="0"/>
                        <a:buNone/>
                      </a:pP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+mn-lt"/>
                        </a:rPr>
                        <a:t>- Difficult to scale if many bidders</a:t>
                      </a: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83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Institutional capacity</a:t>
                      </a: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759"/>
                        </a:buClr>
                        <a:buSzTx/>
                        <a:buFont typeface="Courier New" panose="02070309020205020404" pitchFamily="49" charset="0"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Require capabilities for negotiations, but more flexible on timeline</a:t>
                      </a:r>
                      <a:endParaRPr lang="en-US" sz="1600" noProof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3749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01066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371600"/>
            <a:ext cx="7772400" cy="457200"/>
          </a:xfrm>
        </p:spPr>
        <p:txBody>
          <a:bodyPr/>
          <a:lstStyle/>
          <a:p>
            <a:pPr algn="ctr"/>
            <a:r>
              <a:rPr lang="en-US" dirty="0"/>
              <a:t>Auctions provide strong volume control, price pressure and scalability, but need competi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D58BE54-352F-4836-87B7-94E41D063D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>
            <a:off x="215590" y="2368412"/>
            <a:ext cx="4342056" cy="12828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Content Placeholder 209">
            <a:extLst>
              <a:ext uri="{FF2B5EF4-FFF2-40B4-BE49-F238E27FC236}">
                <a16:creationId xmlns:a16="http://schemas.microsoft.com/office/drawing/2014/main" id="{B6F6FB63-C69E-429C-96E7-7BCB0C2D718F}"/>
              </a:ext>
            </a:extLst>
          </p:cNvPr>
          <p:cNvSpPr txBox="1">
            <a:spLocks/>
          </p:cNvSpPr>
          <p:nvPr/>
        </p:nvSpPr>
        <p:spPr>
          <a:xfrm>
            <a:off x="767618" y="2418831"/>
            <a:ext cx="4027488" cy="974773"/>
          </a:xfrm>
          <a:prstGeom prst="rect">
            <a:avLst/>
          </a:prstGeom>
        </p:spPr>
        <p:txBody>
          <a:bodyPr/>
          <a:lstStyle>
            <a:lvl1pPr marL="230188" indent="-2301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8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460375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-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2pPr>
            <a:lvl3pPr marL="1027113" indent="-3444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3pPr>
            <a:lvl4pPr marL="1373188" indent="-34448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Palatino Linotype" pitchFamily="18" charset="0"/>
              <a:buChar char="◦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4pPr>
            <a:lvl5pPr marL="17176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Palatino Linotype" pitchFamily="18" charset="0"/>
              <a:buChar char="▫"/>
              <a:defRPr lang="en-US" sz="1600" kern="1200" dirty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55759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ction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30188" marR="0" lvl="0" indent="-2301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55759">
                  <a:lumMod val="5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overnment sets volume</a:t>
            </a:r>
          </a:p>
          <a:p>
            <a:pPr marL="230188" marR="0" lvl="0" indent="-2301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555759">
                  <a:lumMod val="50000"/>
                </a:srgbClr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rket sets the price (clearing at price level where auction volume is met)</a:t>
            </a:r>
          </a:p>
          <a:p>
            <a:pPr marL="230188" marR="0" lvl="0" indent="-230188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30188" marR="0" lvl="0" indent="-230188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30188" marR="0" lvl="0" indent="-230188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2F6C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555759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26" name="Group 25" descr="a renumeration graph representing ideal prices (lower) for awarded bids as opposed to non awarded bids">
            <a:extLst>
              <a:ext uri="{FF2B5EF4-FFF2-40B4-BE49-F238E27FC236}">
                <a16:creationId xmlns:a16="http://schemas.microsoft.com/office/drawing/2014/main" id="{C9F0746E-1BE5-4C93-9743-039D4655854D}"/>
              </a:ext>
            </a:extLst>
          </p:cNvPr>
          <p:cNvGrpSpPr/>
          <p:nvPr/>
        </p:nvGrpSpPr>
        <p:grpSpPr>
          <a:xfrm>
            <a:off x="64367" y="3775223"/>
            <a:ext cx="4812433" cy="3082777"/>
            <a:chOff x="-17327" y="2572038"/>
            <a:chExt cx="4812433" cy="3082777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B3E95E9-BCD7-4961-AB86-BDD906A035DD}"/>
                </a:ext>
              </a:extLst>
            </p:cNvPr>
            <p:cNvSpPr txBox="1"/>
            <p:nvPr/>
          </p:nvSpPr>
          <p:spPr>
            <a:xfrm>
              <a:off x="-17327" y="3445310"/>
              <a:ext cx="100530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r">
                <a:defRPr sz="1200" b="1" i="1" kern="0">
                  <a:solidFill>
                    <a:prstClr val="black"/>
                  </a:solidFill>
                  <a:latin typeface="+mj-lt"/>
                </a:defRPr>
              </a:lvl1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1" i="1" u="none" strike="noStrike" kern="0" cap="none" spc="0" normalizeH="0" baseline="0" noProof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Price (pay-as bid or clearing)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89DCC36-84A1-40FD-BF32-41A7F85313D3}"/>
                </a:ext>
              </a:extLst>
            </p:cNvPr>
            <p:cNvGrpSpPr/>
            <p:nvPr/>
          </p:nvGrpSpPr>
          <p:grpSpPr>
            <a:xfrm>
              <a:off x="194384" y="2572038"/>
              <a:ext cx="4600722" cy="3082777"/>
              <a:chOff x="194384" y="2572038"/>
              <a:chExt cx="4600722" cy="3082777"/>
            </a:xfrm>
          </p:grpSpPr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B525BADB-8D03-4D2A-9C69-6FF272823430}"/>
                  </a:ext>
                </a:extLst>
              </p:cNvPr>
              <p:cNvSpPr/>
              <p:nvPr/>
            </p:nvSpPr>
            <p:spPr>
              <a:xfrm>
                <a:off x="906562" y="4762263"/>
                <a:ext cx="3888544" cy="89255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charset="0"/>
                  </a:rPr>
                  <a:t>Defined volum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charset="0"/>
                  </a:rPr>
                  <a:t>Capacity (kW), production (kWh), budget, grid capacity</a:t>
                </a: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1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9977C3F2-E13F-4164-A33B-921ADF18F49E}"/>
                  </a:ext>
                </a:extLst>
              </p:cNvPr>
              <p:cNvCxnSpPr/>
              <p:nvPr/>
            </p:nvCxnSpPr>
            <p:spPr bwMode="auto">
              <a:xfrm flipH="1">
                <a:off x="1016508" y="3621970"/>
                <a:ext cx="2416766" cy="756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31" name="TextBox 17">
                <a:extLst>
                  <a:ext uri="{FF2B5EF4-FFF2-40B4-BE49-F238E27FC236}">
                    <a16:creationId xmlns:a16="http://schemas.microsoft.com/office/drawing/2014/main" id="{DC84E252-46DC-4EFB-9595-83671BAE9C50}"/>
                  </a:ext>
                </a:extLst>
              </p:cNvPr>
              <p:cNvSpPr txBox="1"/>
              <p:nvPr/>
            </p:nvSpPr>
            <p:spPr>
              <a:xfrm>
                <a:off x="1813668" y="2806244"/>
                <a:ext cx="1418978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55759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charset="0"/>
                  </a:rPr>
                  <a:t>Awarded bids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55759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 charset="0"/>
                  </a:rPr>
                  <a:t>Non awarded bids</a:t>
                </a:r>
              </a:p>
            </p:txBody>
          </p:sp>
          <p:sp>
            <p:nvSpPr>
              <p:cNvPr id="32" name="Rectangle 60">
                <a:extLst>
                  <a:ext uri="{FF2B5EF4-FFF2-40B4-BE49-F238E27FC236}">
                    <a16:creationId xmlns:a16="http://schemas.microsoft.com/office/drawing/2014/main" id="{5920EBE4-51BD-48BF-8B96-73B86CBC2C6B}"/>
                  </a:ext>
                </a:extLst>
              </p:cNvPr>
              <p:cNvSpPr/>
              <p:nvPr/>
            </p:nvSpPr>
            <p:spPr bwMode="auto">
              <a:xfrm>
                <a:off x="1680063" y="3051916"/>
                <a:ext cx="176600" cy="123619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AFD4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sp>
            <p:nvSpPr>
              <p:cNvPr id="33" name="Rectangle 62">
                <a:extLst>
                  <a:ext uri="{FF2B5EF4-FFF2-40B4-BE49-F238E27FC236}">
                    <a16:creationId xmlns:a16="http://schemas.microsoft.com/office/drawing/2014/main" id="{724F5F1F-8AA9-433B-B332-0953DEF420FC}"/>
                  </a:ext>
                </a:extLst>
              </p:cNvPr>
              <p:cNvSpPr/>
              <p:nvPr/>
            </p:nvSpPr>
            <p:spPr bwMode="auto">
              <a:xfrm>
                <a:off x="1682303" y="2894539"/>
                <a:ext cx="176600" cy="123619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D30B8E62-AA91-482E-8ADB-974BB6473903}"/>
                  </a:ext>
                </a:extLst>
              </p:cNvPr>
              <p:cNvSpPr/>
              <p:nvPr/>
            </p:nvSpPr>
            <p:spPr bwMode="auto">
              <a:xfrm>
                <a:off x="1000192" y="4192252"/>
                <a:ext cx="103323" cy="657048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cxnSp>
            <p:nvCxnSpPr>
              <p:cNvPr id="35" name="Straight Connector 34">
                <a:extLst>
                  <a:ext uri="{FF2B5EF4-FFF2-40B4-BE49-F238E27FC236}">
                    <a16:creationId xmlns:a16="http://schemas.microsoft.com/office/drawing/2014/main" id="{F8830466-F4FA-49ED-8DBF-FF82C0C5F609}"/>
                  </a:ext>
                </a:extLst>
              </p:cNvPr>
              <p:cNvCxnSpPr/>
              <p:nvPr/>
            </p:nvCxnSpPr>
            <p:spPr bwMode="auto">
              <a:xfrm flipH="1" flipV="1">
                <a:off x="1015199" y="4922989"/>
                <a:ext cx="2380655" cy="0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rgbClr val="C00000"/>
                </a:solidFill>
                <a:prstDash val="solid"/>
                <a:round/>
                <a:headEnd type="triangle" w="med" len="med"/>
                <a:tailEnd type="triangl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EF3CCFE2-AE75-4E7E-97CE-7E2FE2151496}"/>
                  </a:ext>
                </a:extLst>
              </p:cNvPr>
              <p:cNvSpPr/>
              <p:nvPr/>
            </p:nvSpPr>
            <p:spPr bwMode="auto">
              <a:xfrm>
                <a:off x="1092525" y="4138870"/>
                <a:ext cx="69950" cy="713630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B6E8A5B-6400-4565-9A52-F990290045CB}"/>
                  </a:ext>
                </a:extLst>
              </p:cNvPr>
              <p:cNvSpPr/>
              <p:nvPr/>
            </p:nvSpPr>
            <p:spPr bwMode="auto">
              <a:xfrm>
                <a:off x="1160896" y="4138600"/>
                <a:ext cx="358637" cy="713630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2E926F3B-F2E1-4F5B-BC03-52B3632F5A95}"/>
                  </a:ext>
                </a:extLst>
              </p:cNvPr>
              <p:cNvSpPr/>
              <p:nvPr/>
            </p:nvSpPr>
            <p:spPr bwMode="auto">
              <a:xfrm>
                <a:off x="1519227" y="3953822"/>
                <a:ext cx="322643" cy="898408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5557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D60DF3A2-CB5B-4015-9CBC-335C5D4BE58D}"/>
                  </a:ext>
                </a:extLst>
              </p:cNvPr>
              <p:cNvSpPr/>
              <p:nvPr/>
            </p:nvSpPr>
            <p:spPr bwMode="auto">
              <a:xfrm>
                <a:off x="2036884" y="3739457"/>
                <a:ext cx="194308" cy="1112772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4001B8E4-67FA-4DAE-9E9C-8959A3F23558}"/>
                  </a:ext>
                </a:extLst>
              </p:cNvPr>
              <p:cNvSpPr/>
              <p:nvPr/>
            </p:nvSpPr>
            <p:spPr bwMode="auto">
              <a:xfrm>
                <a:off x="3246062" y="3621970"/>
                <a:ext cx="146068" cy="1230118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7C55F2E2-95FC-41AB-82FE-EAC53AF89C6B}"/>
                  </a:ext>
                </a:extLst>
              </p:cNvPr>
              <p:cNvSpPr/>
              <p:nvPr/>
            </p:nvSpPr>
            <p:spPr bwMode="auto">
              <a:xfrm>
                <a:off x="3409773" y="3558817"/>
                <a:ext cx="311365" cy="1294216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AFD4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D9C204F2-73BD-4FEB-BE64-6A080E02C62A}"/>
                  </a:ext>
                </a:extLst>
              </p:cNvPr>
              <p:cNvSpPr/>
              <p:nvPr/>
            </p:nvSpPr>
            <p:spPr bwMode="auto">
              <a:xfrm>
                <a:off x="3725694" y="3536585"/>
                <a:ext cx="320545" cy="1317178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solidFill>
                  <a:srgbClr val="AFD4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451CEE7D-5B9D-4592-8EDE-D3AE7880F656}"/>
                  </a:ext>
                </a:extLst>
              </p:cNvPr>
              <p:cNvSpPr/>
              <p:nvPr/>
            </p:nvSpPr>
            <p:spPr bwMode="auto">
              <a:xfrm>
                <a:off x="4051220" y="3370031"/>
                <a:ext cx="242892" cy="1483734"/>
              </a:xfrm>
              <a:prstGeom prst="rect">
                <a:avLst/>
              </a:prstGeom>
              <a:noFill/>
              <a:ln w="9525" cap="flat" cmpd="sng" algn="ctr">
                <a:solidFill>
                  <a:srgbClr val="AFD46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272C342A-D8F1-4D4C-A070-70372710E253}"/>
                  </a:ext>
                </a:extLst>
              </p:cNvPr>
              <p:cNvSpPr/>
              <p:nvPr/>
            </p:nvSpPr>
            <p:spPr bwMode="auto">
              <a:xfrm>
                <a:off x="2233528" y="3715778"/>
                <a:ext cx="1013147" cy="1137528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ts val="21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3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sp>
            <p:nvSpPr>
              <p:cNvPr id="45" name="Rectangle 44">
                <a:extLst>
                  <a:ext uri="{FF2B5EF4-FFF2-40B4-BE49-F238E27FC236}">
                    <a16:creationId xmlns:a16="http://schemas.microsoft.com/office/drawing/2014/main" id="{5F652D4D-063F-4BF1-B0BD-0151EAAA98C3}"/>
                  </a:ext>
                </a:extLst>
              </p:cNvPr>
              <p:cNvSpPr/>
              <p:nvPr/>
            </p:nvSpPr>
            <p:spPr bwMode="auto">
              <a:xfrm>
                <a:off x="1841726" y="3882148"/>
                <a:ext cx="194308" cy="970081"/>
              </a:xfrm>
              <a:prstGeom prst="rect">
                <a:avLst/>
              </a:prstGeom>
              <a:solidFill>
                <a:srgbClr val="AFD466"/>
              </a:solidFill>
              <a:ln w="9525" cap="flat" cmpd="sng" algn="ctr">
                <a:solidFill>
                  <a:srgbClr val="7AB8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555759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charset="0"/>
                </a:endParaRPr>
              </a:p>
            </p:txBody>
          </p:sp>
          <p:cxnSp>
            <p:nvCxnSpPr>
              <p:cNvPr id="46" name="Straight Arrow Connector 45">
                <a:extLst>
                  <a:ext uri="{FF2B5EF4-FFF2-40B4-BE49-F238E27FC236}">
                    <a16:creationId xmlns:a16="http://schemas.microsoft.com/office/drawing/2014/main" id="{7BC813FC-03BE-44C0-854B-6DBEA40E7D75}"/>
                  </a:ext>
                </a:extLst>
              </p:cNvPr>
              <p:cNvCxnSpPr/>
              <p:nvPr/>
            </p:nvCxnSpPr>
            <p:spPr bwMode="auto">
              <a:xfrm>
                <a:off x="993646" y="4862193"/>
                <a:ext cx="3564000" cy="1061"/>
              </a:xfrm>
              <a:prstGeom prst="straightConnector1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E4EF342-3962-449F-A555-B9E8CE95CC64}"/>
                  </a:ext>
                </a:extLst>
              </p:cNvPr>
              <p:cNvCxnSpPr/>
              <p:nvPr/>
            </p:nvCxnSpPr>
            <p:spPr bwMode="auto">
              <a:xfrm flipH="1">
                <a:off x="3397111" y="3267435"/>
                <a:ext cx="1" cy="1588868"/>
              </a:xfrm>
              <a:prstGeom prst="line">
                <a:avLst/>
              </a:prstGeom>
              <a:solidFill>
                <a:schemeClr val="tx2"/>
              </a:solidFill>
              <a:ln w="28575" cap="flat" cmpd="sng" algn="ctr">
                <a:solidFill>
                  <a:schemeClr val="accent5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8" name="Straight Arrow Connector 47">
                <a:extLst>
                  <a:ext uri="{FF2B5EF4-FFF2-40B4-BE49-F238E27FC236}">
                    <a16:creationId xmlns:a16="http://schemas.microsoft.com/office/drawing/2014/main" id="{E6378C4F-0E71-4CBA-B364-091A41AD3BDA}"/>
                  </a:ext>
                </a:extLst>
              </p:cNvPr>
              <p:cNvCxnSpPr/>
              <p:nvPr/>
            </p:nvCxnSpPr>
            <p:spPr bwMode="auto">
              <a:xfrm flipV="1">
                <a:off x="1000565" y="2829931"/>
                <a:ext cx="0" cy="2026372"/>
              </a:xfrm>
              <a:prstGeom prst="straightConnector1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tx1">
                    <a:lumMod val="50000"/>
                  </a:schemeClr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49" name="TextBox 22">
                <a:extLst>
                  <a:ext uri="{FF2B5EF4-FFF2-40B4-BE49-F238E27FC236}">
                    <a16:creationId xmlns:a16="http://schemas.microsoft.com/office/drawing/2014/main" id="{E7814A92-5368-4E94-BAA2-62BAE4083566}"/>
                  </a:ext>
                </a:extLst>
              </p:cNvPr>
              <p:cNvSpPr txBox="1"/>
              <p:nvPr/>
            </p:nvSpPr>
            <p:spPr>
              <a:xfrm>
                <a:off x="194384" y="2572038"/>
                <a:ext cx="1146468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muneration</a:t>
                </a:r>
              </a:p>
            </p:txBody>
          </p:sp>
        </p:grpSp>
      </p:grpSp>
      <p:sp>
        <p:nvSpPr>
          <p:cNvPr id="50" name="Isosceles Triangle 49">
            <a:extLst>
              <a:ext uri="{FF2B5EF4-FFF2-40B4-BE49-F238E27FC236}">
                <a16:creationId xmlns:a16="http://schemas.microsoft.com/office/drawing/2014/main" id="{54B5C064-8FFE-4103-9F49-53A208A039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 bwMode="auto">
          <a:xfrm rot="5400000">
            <a:off x="-107867" y="2910986"/>
            <a:ext cx="1093988" cy="223504"/>
          </a:xfrm>
          <a:prstGeom prst="triangle">
            <a:avLst/>
          </a:prstGeom>
          <a:solidFill>
            <a:srgbClr val="1E4ABD"/>
          </a:solidFill>
          <a:ln w="12700" cap="flat" cmpd="sng" algn="ctr">
            <a:solidFill>
              <a:srgbClr val="1E4AB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51" name="Table 50">
            <a:extLst>
              <a:ext uri="{FF2B5EF4-FFF2-40B4-BE49-F238E27FC236}">
                <a16:creationId xmlns:a16="http://schemas.microsoft.com/office/drawing/2014/main" id="{BC4BCFDC-3775-41B7-B13C-A20C91E3FEE4}"/>
              </a:ext>
            </a:extLst>
          </p:cNvPr>
          <p:cNvGraphicFramePr>
            <a:graphicFrameLocks noGrp="1"/>
          </p:cNvGraphicFramePr>
          <p:nvPr/>
        </p:nvGraphicFramePr>
        <p:xfrm>
          <a:off x="4845345" y="2350532"/>
          <a:ext cx="4146255" cy="426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300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16201">
                  <a:extLst>
                    <a:ext uri="{9D8B030D-6E8A-4147-A177-3AD203B41FA5}">
                      <a16:colId xmlns:a16="http://schemas.microsoft.com/office/drawing/2014/main" val="689588887"/>
                    </a:ext>
                  </a:extLst>
                </a:gridCol>
              </a:tblGrid>
              <a:tr h="330850">
                <a:tc>
                  <a:txBody>
                    <a:bodyPr/>
                    <a:lstStyle/>
                    <a:p>
                      <a:pPr algn="ctr"/>
                      <a:endParaRPr lang="en-US" sz="1600" cap="all" baseline="0" noProof="0" dirty="0">
                        <a:effectLst/>
                        <a:latin typeface="+mj-lt"/>
                      </a:endParaRP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002A6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cap="all" baseline="0" noProof="0" dirty="0">
                          <a:effectLst/>
                          <a:latin typeface="+mj-lt"/>
                        </a:rPr>
                        <a:t>Auctions</a:t>
                      </a:r>
                    </a:p>
                  </a:txBody>
                  <a:tcPr anchor="ctr">
                    <a:lnB w="38100" cmpd="sng">
                      <a:noFill/>
                    </a:lnB>
                    <a:solidFill>
                      <a:srgbClr val="002A6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02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Policy goals</a:t>
                      </a:r>
                    </a:p>
                  </a:txBody>
                  <a:tcP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759"/>
                        </a:buClr>
                        <a:buSzTx/>
                        <a:buFont typeface="Courier New" panose="02070309020205020404" pitchFamily="49" charset="0"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 Volume control</a:t>
                      </a:r>
                    </a:p>
                    <a:p>
                      <a:pPr marL="93663" indent="0">
                        <a:buClr>
                          <a:srgbClr val="555759"/>
                        </a:buClr>
                        <a:buFont typeface="Courier New" panose="02070309020205020404" pitchFamily="49" charset="0"/>
                        <a:buNone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 Competitive price building high</a:t>
                      </a:r>
                    </a:p>
                    <a:p>
                      <a:pPr marL="93663" indent="0">
                        <a:buClr>
                          <a:srgbClr val="555759"/>
                        </a:buClr>
                        <a:buFont typeface="Courier New" panose="02070309020205020404" pitchFamily="49" charset="0"/>
                        <a:buNone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 Fast realization after award</a:t>
                      </a:r>
                    </a:p>
                    <a:p>
                      <a:pPr marL="936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759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Developers face risk of not being awarded and sunk cost</a:t>
                      </a:r>
                    </a:p>
                  </a:txBody>
                  <a:tcP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2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Market maturity</a:t>
                      </a: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555759"/>
                        </a:buClr>
                        <a:buSzTx/>
                        <a:buFont typeface="Courier New" panose="02070309020205020404" pitchFamily="49" charset="0"/>
                        <a:buNone/>
                        <a:tabLst/>
                        <a:defRPr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 Easy to scale</a:t>
                      </a:r>
                    </a:p>
                    <a:p>
                      <a:pPr marL="93663" indent="0" algn="l" defTabSz="914400" rtl="0" eaLnBrk="1" latinLnBrk="0" hangingPunct="1">
                        <a:buClr>
                          <a:srgbClr val="555759"/>
                        </a:buClr>
                        <a:buFont typeface="Courier New" panose="02070309020205020404" pitchFamily="49" charset="0"/>
                        <a:buNone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Need high competition</a:t>
                      </a:r>
                    </a:p>
                    <a:p>
                      <a:pPr marL="93663" indent="0" algn="l" defTabSz="914400" rtl="0" eaLnBrk="1" latinLnBrk="0" hangingPunct="1">
                        <a:buClr>
                          <a:srgbClr val="555759"/>
                        </a:buClr>
                        <a:buFont typeface="Courier New" panose="02070309020205020404" pitchFamily="49" charset="0"/>
                        <a:buNone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RE producers need to know market to place bid</a:t>
                      </a: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0834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>
                          <a:solidFill>
                            <a:schemeClr val="tx1"/>
                          </a:solidFill>
                          <a:latin typeface="+mn-lt"/>
                        </a:rPr>
                        <a:t>Institutional capacity</a:t>
                      </a: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93663" indent="0">
                        <a:buClr>
                          <a:srgbClr val="555759"/>
                        </a:buClr>
                        <a:buFont typeface="Courier New" panose="02070309020205020404" pitchFamily="49" charset="0"/>
                        <a:buNone/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Require stronger institutional capabilities to build bidder interest </a:t>
                      </a:r>
                    </a:p>
                  </a:txBody>
                  <a:tcPr>
                    <a:lnT w="6350" cap="flat" cmpd="sng" algn="ctr">
                      <a:solidFill>
                        <a:srgbClr val="5557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3749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332951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7772400" cy="457200"/>
          </a:xfrm>
        </p:spPr>
        <p:txBody>
          <a:bodyPr/>
          <a:lstStyle/>
          <a:p>
            <a:pPr lvl="0" algn="ctr"/>
            <a:r>
              <a:rPr lang="en-US" dirty="0"/>
              <a:t>Focus on auctions: overview of auction desig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590800"/>
            <a:ext cx="7772400" cy="3429000"/>
          </a:xfrm>
        </p:spPr>
        <p:txBody>
          <a:bodyPr/>
          <a:lstStyle/>
          <a:p>
            <a:pPr lvl="0"/>
            <a:r>
              <a:rPr lang="en-US" sz="1400" dirty="0">
                <a:latin typeface="+mj-lt"/>
              </a:rPr>
              <a:t>...</a:t>
            </a:r>
          </a:p>
          <a:p>
            <a:pPr marL="0" indent="0">
              <a:buNone/>
            </a:pPr>
            <a:endParaRPr lang="en-US" dirty="0">
              <a:latin typeface="+mj-lt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1BAE7E1-F691-4DCC-BF75-3879B8C46911}"/>
              </a:ext>
            </a:extLst>
          </p:cNvPr>
          <p:cNvSpPr/>
          <p:nvPr/>
        </p:nvSpPr>
        <p:spPr>
          <a:xfrm>
            <a:off x="-63608" y="2401931"/>
            <a:ext cx="2016000" cy="850900"/>
          </a:xfrm>
          <a:custGeom>
            <a:avLst/>
            <a:gdLst>
              <a:gd name="connsiteX0" fmla="*/ 0 w 1704050"/>
              <a:gd name="connsiteY0" fmla="*/ 0 h 496296"/>
              <a:gd name="connsiteX1" fmla="*/ 1455902 w 1704050"/>
              <a:gd name="connsiteY1" fmla="*/ 0 h 496296"/>
              <a:gd name="connsiteX2" fmla="*/ 1704050 w 1704050"/>
              <a:gd name="connsiteY2" fmla="*/ 248148 h 496296"/>
              <a:gd name="connsiteX3" fmla="*/ 1455902 w 1704050"/>
              <a:gd name="connsiteY3" fmla="*/ 496296 h 496296"/>
              <a:gd name="connsiteX4" fmla="*/ 0 w 1704050"/>
              <a:gd name="connsiteY4" fmla="*/ 496296 h 496296"/>
              <a:gd name="connsiteX5" fmla="*/ 248148 w 1704050"/>
              <a:gd name="connsiteY5" fmla="*/ 248148 h 496296"/>
              <a:gd name="connsiteX6" fmla="*/ 0 w 1704050"/>
              <a:gd name="connsiteY6" fmla="*/ 0 h 496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04050" h="496296">
                <a:moveTo>
                  <a:pt x="0" y="0"/>
                </a:moveTo>
                <a:lnTo>
                  <a:pt x="1455902" y="0"/>
                </a:lnTo>
                <a:lnTo>
                  <a:pt x="1704050" y="248148"/>
                </a:lnTo>
                <a:lnTo>
                  <a:pt x="1455902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rgbClr val="555759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320157" tIns="24003" rIns="272151" bIns="24003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rget definition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D479E56-8DA6-4CF3-886D-6AA448D12CFD}"/>
              </a:ext>
            </a:extLst>
          </p:cNvPr>
          <p:cNvSpPr/>
          <p:nvPr/>
        </p:nvSpPr>
        <p:spPr>
          <a:xfrm>
            <a:off x="1740045" y="2401931"/>
            <a:ext cx="2016000" cy="850900"/>
          </a:xfrm>
          <a:custGeom>
            <a:avLst/>
            <a:gdLst>
              <a:gd name="connsiteX0" fmla="*/ 0 w 1420929"/>
              <a:gd name="connsiteY0" fmla="*/ 0 h 496296"/>
              <a:gd name="connsiteX1" fmla="*/ 1172781 w 1420929"/>
              <a:gd name="connsiteY1" fmla="*/ 0 h 496296"/>
              <a:gd name="connsiteX2" fmla="*/ 1420929 w 1420929"/>
              <a:gd name="connsiteY2" fmla="*/ 248148 h 496296"/>
              <a:gd name="connsiteX3" fmla="*/ 1172781 w 1420929"/>
              <a:gd name="connsiteY3" fmla="*/ 496296 h 496296"/>
              <a:gd name="connsiteX4" fmla="*/ 0 w 1420929"/>
              <a:gd name="connsiteY4" fmla="*/ 496296 h 496296"/>
              <a:gd name="connsiteX5" fmla="*/ 248148 w 1420929"/>
              <a:gd name="connsiteY5" fmla="*/ 248148 h 496296"/>
              <a:gd name="connsiteX6" fmla="*/ 0 w 1420929"/>
              <a:gd name="connsiteY6" fmla="*/ 0 h 496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0929" h="496296">
                <a:moveTo>
                  <a:pt x="0" y="0"/>
                </a:moveTo>
                <a:lnTo>
                  <a:pt x="1172781" y="0"/>
                </a:lnTo>
                <a:lnTo>
                  <a:pt x="1420929" y="248148"/>
                </a:lnTo>
                <a:lnTo>
                  <a:pt x="1172781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rgbClr val="555759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320157" tIns="24003" rIns="272151" bIns="24003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rket </a:t>
            </a:r>
            <a:r>
              <a:rPr kumimoji="0" lang="de-DE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amp;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gulatory analysi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4BFB8312-030A-4936-80B2-C88F2525805C}"/>
              </a:ext>
            </a:extLst>
          </p:cNvPr>
          <p:cNvSpPr/>
          <p:nvPr/>
        </p:nvSpPr>
        <p:spPr>
          <a:xfrm>
            <a:off x="3543698" y="2401931"/>
            <a:ext cx="2016000" cy="850900"/>
          </a:xfrm>
          <a:custGeom>
            <a:avLst/>
            <a:gdLst>
              <a:gd name="connsiteX0" fmla="*/ 0 w 1362074"/>
              <a:gd name="connsiteY0" fmla="*/ 0 h 496296"/>
              <a:gd name="connsiteX1" fmla="*/ 1113926 w 1362074"/>
              <a:gd name="connsiteY1" fmla="*/ 0 h 496296"/>
              <a:gd name="connsiteX2" fmla="*/ 1362074 w 1362074"/>
              <a:gd name="connsiteY2" fmla="*/ 248148 h 496296"/>
              <a:gd name="connsiteX3" fmla="*/ 1113926 w 1362074"/>
              <a:gd name="connsiteY3" fmla="*/ 496296 h 496296"/>
              <a:gd name="connsiteX4" fmla="*/ 0 w 1362074"/>
              <a:gd name="connsiteY4" fmla="*/ 496296 h 496296"/>
              <a:gd name="connsiteX5" fmla="*/ 248148 w 1362074"/>
              <a:gd name="connsiteY5" fmla="*/ 248148 h 496296"/>
              <a:gd name="connsiteX6" fmla="*/ 0 w 1362074"/>
              <a:gd name="connsiteY6" fmla="*/ 0 h 496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2074" h="496296">
                <a:moveTo>
                  <a:pt x="0" y="0"/>
                </a:moveTo>
                <a:lnTo>
                  <a:pt x="1113926" y="0"/>
                </a:lnTo>
                <a:lnTo>
                  <a:pt x="1362074" y="248148"/>
                </a:lnTo>
                <a:lnTo>
                  <a:pt x="1113926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rgbClr val="555759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320157" tIns="24003" rIns="272151" bIns="24003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ction design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9A927B68-AC0D-4610-888C-6F0810FB4B8C}"/>
              </a:ext>
            </a:extLst>
          </p:cNvPr>
          <p:cNvSpPr/>
          <p:nvPr/>
        </p:nvSpPr>
        <p:spPr>
          <a:xfrm>
            <a:off x="5347351" y="2401931"/>
            <a:ext cx="2016000" cy="850900"/>
          </a:xfrm>
          <a:custGeom>
            <a:avLst/>
            <a:gdLst>
              <a:gd name="connsiteX0" fmla="*/ 0 w 1745443"/>
              <a:gd name="connsiteY0" fmla="*/ 0 h 496296"/>
              <a:gd name="connsiteX1" fmla="*/ 1497295 w 1745443"/>
              <a:gd name="connsiteY1" fmla="*/ 0 h 496296"/>
              <a:gd name="connsiteX2" fmla="*/ 1745443 w 1745443"/>
              <a:gd name="connsiteY2" fmla="*/ 248148 h 496296"/>
              <a:gd name="connsiteX3" fmla="*/ 1497295 w 1745443"/>
              <a:gd name="connsiteY3" fmla="*/ 496296 h 496296"/>
              <a:gd name="connsiteX4" fmla="*/ 0 w 1745443"/>
              <a:gd name="connsiteY4" fmla="*/ 496296 h 496296"/>
              <a:gd name="connsiteX5" fmla="*/ 248148 w 1745443"/>
              <a:gd name="connsiteY5" fmla="*/ 248148 h 496296"/>
              <a:gd name="connsiteX6" fmla="*/ 0 w 1745443"/>
              <a:gd name="connsiteY6" fmla="*/ 0 h 496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45443" h="496296">
                <a:moveTo>
                  <a:pt x="0" y="0"/>
                </a:moveTo>
                <a:lnTo>
                  <a:pt x="1497295" y="0"/>
                </a:lnTo>
                <a:lnTo>
                  <a:pt x="1745443" y="248148"/>
                </a:lnTo>
                <a:lnTo>
                  <a:pt x="1497295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rgbClr val="555759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320157" tIns="24003" rIns="272151" bIns="24003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mple-mentation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0966B78E-3C70-4AB6-B421-4F967586651A}"/>
              </a:ext>
            </a:extLst>
          </p:cNvPr>
          <p:cNvSpPr/>
          <p:nvPr/>
        </p:nvSpPr>
        <p:spPr>
          <a:xfrm>
            <a:off x="7151003" y="2401931"/>
            <a:ext cx="2016000" cy="850900"/>
          </a:xfrm>
          <a:custGeom>
            <a:avLst/>
            <a:gdLst>
              <a:gd name="connsiteX0" fmla="*/ 0 w 1362074"/>
              <a:gd name="connsiteY0" fmla="*/ 0 h 496296"/>
              <a:gd name="connsiteX1" fmla="*/ 1113926 w 1362074"/>
              <a:gd name="connsiteY1" fmla="*/ 0 h 496296"/>
              <a:gd name="connsiteX2" fmla="*/ 1362074 w 1362074"/>
              <a:gd name="connsiteY2" fmla="*/ 248148 h 496296"/>
              <a:gd name="connsiteX3" fmla="*/ 1113926 w 1362074"/>
              <a:gd name="connsiteY3" fmla="*/ 496296 h 496296"/>
              <a:gd name="connsiteX4" fmla="*/ 0 w 1362074"/>
              <a:gd name="connsiteY4" fmla="*/ 496296 h 496296"/>
              <a:gd name="connsiteX5" fmla="*/ 248148 w 1362074"/>
              <a:gd name="connsiteY5" fmla="*/ 248148 h 496296"/>
              <a:gd name="connsiteX6" fmla="*/ 0 w 1362074"/>
              <a:gd name="connsiteY6" fmla="*/ 0 h 496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2074" h="496296">
                <a:moveTo>
                  <a:pt x="0" y="0"/>
                </a:moveTo>
                <a:lnTo>
                  <a:pt x="1113926" y="0"/>
                </a:lnTo>
                <a:lnTo>
                  <a:pt x="1362074" y="248148"/>
                </a:lnTo>
                <a:lnTo>
                  <a:pt x="1113926" y="496296"/>
                </a:lnTo>
                <a:lnTo>
                  <a:pt x="0" y="496296"/>
                </a:lnTo>
                <a:lnTo>
                  <a:pt x="248148" y="248148"/>
                </a:lnTo>
                <a:lnTo>
                  <a:pt x="0" y="0"/>
                </a:lnTo>
                <a:close/>
              </a:path>
            </a:pathLst>
          </a:custGeom>
          <a:solidFill>
            <a:srgbClr val="555759">
              <a:hueOff val="0"/>
              <a:satOff val="0"/>
              <a:lumOff val="0"/>
              <a:alphaOff val="0"/>
            </a:srgbClr>
          </a:solidFill>
          <a:ln w="25400" cap="flat" cmpd="sng" algn="ctr">
            <a:solidFill>
              <a:sysClr val="window" lastClr="FFFFFF">
                <a:hueOff val="0"/>
                <a:satOff val="0"/>
                <a:lumOff val="0"/>
                <a:alphaOff val="0"/>
              </a:sysClr>
            </a:solidFill>
            <a:prstDash val="solid"/>
          </a:ln>
          <a:effectLst/>
        </p:spPr>
        <p:txBody>
          <a:bodyPr spcFirstLastPara="0" vert="horz" wrap="square" lIns="320157" tIns="24003" rIns="272151" bIns="24003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valu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DBB463-4559-46D5-A02A-5F6F20A646D4}"/>
              </a:ext>
            </a:extLst>
          </p:cNvPr>
          <p:cNvSpPr/>
          <p:nvPr/>
        </p:nvSpPr>
        <p:spPr>
          <a:xfrm>
            <a:off x="3555581" y="3207871"/>
            <a:ext cx="2004115" cy="29392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Institutional set-up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What is auctioned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rocurement procedure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onditions for participation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Enforcement of obligation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ights for awarded projec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9E02005-323C-425A-BBEB-D54EA14812C5}"/>
              </a:ext>
            </a:extLst>
          </p:cNvPr>
          <p:cNvSpPr txBox="1"/>
          <p:nvPr/>
        </p:nvSpPr>
        <p:spPr>
          <a:xfrm>
            <a:off x="89463" y="3219539"/>
            <a:ext cx="1815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olicy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goals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B5BB5C9-11D2-4A17-89CD-F51803356868}"/>
              </a:ext>
            </a:extLst>
          </p:cNvPr>
          <p:cNvSpPr txBox="1"/>
          <p:nvPr/>
        </p:nvSpPr>
        <p:spPr>
          <a:xfrm>
            <a:off x="1740044" y="3207871"/>
            <a:ext cx="2016001" cy="29392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Market size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e-developed project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Market player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Technology cost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roject development &amp; operation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Existing regulations &amp; incentives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EC7C2E8-64C0-44B4-BA37-1BB4CAE87591}"/>
              </a:ext>
            </a:extLst>
          </p:cNvPr>
          <p:cNvSpPr txBox="1"/>
          <p:nvPr/>
        </p:nvSpPr>
        <p:spPr>
          <a:xfrm>
            <a:off x="5410200" y="3207871"/>
            <a:ext cx="2016000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Drafting of required document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Market building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Procurement conduction</a:t>
            </a:r>
          </a:p>
          <a:p>
            <a:pPr marL="2857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fQ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  <a:p>
            <a:pPr marL="2857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R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fP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and awarding of bids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Contracting 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Monitoring of realiza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2A9C563-7222-469B-BBCE-84873250B9F9}"/>
              </a:ext>
            </a:extLst>
          </p:cNvPr>
          <p:cNvSpPr txBox="1"/>
          <p:nvPr/>
        </p:nvSpPr>
        <p:spPr>
          <a:xfrm>
            <a:off x="7204200" y="3207871"/>
            <a:ext cx="2016000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Lessons</a:t>
            </a:r>
            <a:r>
              <a:rPr kumimoji="0" lang="de-DE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learned</a:t>
            </a:r>
          </a:p>
          <a:p>
            <a:pPr marL="0" marR="0" lvl="1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Adjustment of procurement design</a:t>
            </a:r>
          </a:p>
        </p:txBody>
      </p:sp>
      <p:cxnSp>
        <p:nvCxnSpPr>
          <p:cNvPr id="16" name="Connector: Elbow 15" descr="arrow connecting evaluation back to auction design ">
            <a:extLst>
              <a:ext uri="{FF2B5EF4-FFF2-40B4-BE49-F238E27FC236}">
                <a16:creationId xmlns:a16="http://schemas.microsoft.com/office/drawing/2014/main" id="{52CF35D3-BC00-49F7-9E68-49E97D47CEC1}"/>
              </a:ext>
            </a:extLst>
          </p:cNvPr>
          <p:cNvCxnSpPr/>
          <p:nvPr/>
        </p:nvCxnSpPr>
        <p:spPr bwMode="auto">
          <a:xfrm flipH="1">
            <a:off x="4553348" y="2401931"/>
            <a:ext cx="3607305" cy="12700"/>
          </a:xfrm>
          <a:prstGeom prst="bentConnector5">
            <a:avLst>
              <a:gd name="adj1" fmla="val -528"/>
              <a:gd name="adj2" fmla="val -1750000"/>
              <a:gd name="adj3" fmla="val 99595"/>
            </a:avLst>
          </a:prstGeom>
          <a:solidFill>
            <a:srgbClr val="555759"/>
          </a:solidFill>
          <a:ln w="12700" cap="flat" cmpd="sng" algn="ctr">
            <a:solidFill>
              <a:srgbClr val="55575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7" name="Connector: Elbow 16" descr="arrow connecting evaluation back to auction design">
            <a:extLst>
              <a:ext uri="{FF2B5EF4-FFF2-40B4-BE49-F238E27FC236}">
                <a16:creationId xmlns:a16="http://schemas.microsoft.com/office/drawing/2014/main" id="{C24E69A8-0AF0-4C50-B7CE-6F8F2B0C470E}"/>
              </a:ext>
            </a:extLst>
          </p:cNvPr>
          <p:cNvCxnSpPr/>
          <p:nvPr/>
        </p:nvCxnSpPr>
        <p:spPr bwMode="auto">
          <a:xfrm flipH="1">
            <a:off x="1036517" y="2401931"/>
            <a:ext cx="7140903" cy="12700"/>
          </a:xfrm>
          <a:prstGeom prst="bentConnector5">
            <a:avLst>
              <a:gd name="adj1" fmla="val 0"/>
              <a:gd name="adj2" fmla="val -2350000"/>
              <a:gd name="adj3" fmla="val 100113"/>
            </a:avLst>
          </a:prstGeom>
          <a:solidFill>
            <a:srgbClr val="555759"/>
          </a:solidFill>
          <a:ln w="12700" cap="flat" cmpd="sng" algn="ctr">
            <a:solidFill>
              <a:srgbClr val="55575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Connector: Elbow 17" descr="arrow connecting evaluation back to implementation">
            <a:extLst>
              <a:ext uri="{FF2B5EF4-FFF2-40B4-BE49-F238E27FC236}">
                <a16:creationId xmlns:a16="http://schemas.microsoft.com/office/drawing/2014/main" id="{797BB88A-ED3B-4F87-BAAA-FE5C9F5DC338}"/>
              </a:ext>
            </a:extLst>
          </p:cNvPr>
          <p:cNvCxnSpPr/>
          <p:nvPr/>
        </p:nvCxnSpPr>
        <p:spPr bwMode="auto">
          <a:xfrm flipH="1">
            <a:off x="6366527" y="2401931"/>
            <a:ext cx="1803651" cy="12700"/>
          </a:xfrm>
          <a:prstGeom prst="bentConnector5">
            <a:avLst>
              <a:gd name="adj1" fmla="val 0"/>
              <a:gd name="adj2" fmla="val -950000"/>
              <a:gd name="adj3" fmla="val 99810"/>
            </a:avLst>
          </a:prstGeom>
          <a:solidFill>
            <a:srgbClr val="555759"/>
          </a:solidFill>
          <a:ln w="12700" cap="flat" cmpd="sng" algn="ctr">
            <a:solidFill>
              <a:srgbClr val="555759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42287055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7772400" cy="457200"/>
          </a:xfrm>
        </p:spPr>
        <p:txBody>
          <a:bodyPr/>
          <a:lstStyle/>
          <a:p>
            <a:pPr lvl="0" algn="ctr"/>
            <a:r>
              <a:rPr lang="en-US" dirty="0"/>
              <a:t>Overview of different design elements and function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196AC97-BE0C-47AE-B317-251A7CCF4C63}"/>
              </a:ext>
            </a:extLst>
          </p:cNvPr>
          <p:cNvSpPr/>
          <p:nvPr/>
        </p:nvSpPr>
        <p:spPr bwMode="auto">
          <a:xfrm>
            <a:off x="215590" y="2057401"/>
            <a:ext cx="8717276" cy="914400"/>
          </a:xfrm>
          <a:prstGeom prst="rect">
            <a:avLst/>
          </a:prstGeom>
          <a:noFill/>
          <a:ln>
            <a:solidFill>
              <a:srgbClr val="666666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7AB800"/>
              </a:buClr>
              <a:buSzPct val="110000"/>
              <a:buFont typeface="Verdana" pitchFamily="34" charset="0"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hat is auctioned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7AB800"/>
              </a:buClr>
              <a:buSzPct val="110000"/>
              <a:buFont typeface="Verdana" pitchFamily="34" charset="0"/>
              <a:buNone/>
              <a:tabLst/>
              <a:defRPr/>
            </a:pP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lang="en-GB" sz="16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hnology</a:t>
            </a: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ype, technology size, auctioned item (kWh, KW, budget), multi vs. single-item auc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A92CA71-4E6D-4AB2-84F3-1C385B883AF8}"/>
              </a:ext>
            </a:extLst>
          </p:cNvPr>
          <p:cNvSpPr/>
          <p:nvPr/>
        </p:nvSpPr>
        <p:spPr bwMode="auto">
          <a:xfrm>
            <a:off x="215590" y="3048000"/>
            <a:ext cx="2740670" cy="1842945"/>
          </a:xfrm>
          <a:prstGeom prst="rect">
            <a:avLst/>
          </a:prstGeom>
          <a:noFill/>
          <a:ln>
            <a:solidFill>
              <a:srgbClr val="666666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 typeface="Verdana" pitchFamily="34" charset="0"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ction 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 typeface="Verdana" pitchFamily="34" charset="0"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cedure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Tx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</a:t>
            </a:r>
            <a:r>
              <a:rPr kumimoji="0" lang="en-US" sz="16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atic</a:t>
            </a: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vs. dynamic auctions, price, selection criteria, pricing rule, number of rounds</a:t>
            </a:r>
            <a:endParaRPr kumimoji="0" lang="en-GB" sz="16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9E848EB-3120-4AF8-BAD1-AAF043518F55}"/>
              </a:ext>
            </a:extLst>
          </p:cNvPr>
          <p:cNvSpPr/>
          <p:nvPr/>
        </p:nvSpPr>
        <p:spPr bwMode="auto">
          <a:xfrm>
            <a:off x="3203893" y="3048000"/>
            <a:ext cx="2740670" cy="1842946"/>
          </a:xfrm>
          <a:prstGeom prst="rect">
            <a:avLst/>
          </a:prstGeom>
          <a:noFill/>
          <a:ln>
            <a:solidFill>
              <a:srgbClr val="666666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 typeface="Verdana" pitchFamily="34" charset="0"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ditions for participation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 typeface="Verdana" pitchFamily="34" charset="0"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lang="en-US" sz="1600" b="0" i="1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ming</a:t>
            </a: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of the auction, technical requirements, financial bid bond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53612D-C5F1-4DCA-A537-53F70B4910E3}"/>
              </a:ext>
            </a:extLst>
          </p:cNvPr>
          <p:cNvSpPr/>
          <p:nvPr/>
        </p:nvSpPr>
        <p:spPr bwMode="auto">
          <a:xfrm>
            <a:off x="6192196" y="3048000"/>
            <a:ext cx="2740670" cy="1842946"/>
          </a:xfrm>
          <a:prstGeom prst="rect">
            <a:avLst/>
          </a:prstGeom>
          <a:noFill/>
          <a:ln>
            <a:solidFill>
              <a:srgbClr val="666666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forcement of obligations</a:t>
            </a:r>
            <a:endParaRPr kumimoji="0" lang="en-GB" sz="2000" b="0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Tx/>
              <a:buNone/>
              <a:tabLst/>
              <a:defRPr/>
            </a:pP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adlines and penalties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 typeface="Verdana" pitchFamily="34" charset="0"/>
              <a:buNone/>
              <a:tabLst/>
              <a:defRPr/>
            </a:pPr>
            <a:endParaRPr kumimoji="0" lang="en-GB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BAB570-DB27-4923-AEE3-06BC53A71F21}"/>
              </a:ext>
            </a:extLst>
          </p:cNvPr>
          <p:cNvSpPr/>
          <p:nvPr/>
        </p:nvSpPr>
        <p:spPr bwMode="auto">
          <a:xfrm>
            <a:off x="215590" y="5715000"/>
            <a:ext cx="8717276" cy="719270"/>
          </a:xfrm>
          <a:prstGeom prst="rect">
            <a:avLst/>
          </a:prstGeom>
          <a:noFill/>
          <a:ln>
            <a:solidFill>
              <a:srgbClr val="666666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20000"/>
              </a:spcAft>
              <a:buClr>
                <a:srgbClr val="7AB800"/>
              </a:buClr>
              <a:buSzPct val="110000"/>
              <a:buFont typeface="Verdana" pitchFamily="34" charset="0"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stitutions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Tx/>
              <a:buNone/>
              <a:tabLst/>
              <a:defRPr/>
            </a:pPr>
            <a:r>
              <a:rPr kumimoji="0" lang="en-GB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uction regulation, design, implementation, contract off-ta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FC3DCBD-6764-4D86-B329-F1FEA419102F}"/>
              </a:ext>
            </a:extLst>
          </p:cNvPr>
          <p:cNvSpPr/>
          <p:nvPr/>
        </p:nvSpPr>
        <p:spPr bwMode="auto">
          <a:xfrm>
            <a:off x="211134" y="4983430"/>
            <a:ext cx="8717276" cy="655370"/>
          </a:xfrm>
          <a:prstGeom prst="rect">
            <a:avLst/>
          </a:prstGeom>
          <a:noFill/>
          <a:ln>
            <a:solidFill>
              <a:srgbClr val="666666"/>
            </a:solidFill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Tx/>
              <a:buNone/>
              <a:tabLst/>
              <a:defRPr/>
            </a:pPr>
            <a:r>
              <a:rPr kumimoji="0" lang="en-GB" sz="20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ghts for awarded projects </a:t>
            </a:r>
          </a:p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7AB800"/>
              </a:buClr>
              <a:buSzPct val="110000"/>
              <a:buFontTx/>
              <a:buNone/>
              <a:tabLst/>
              <a:defRPr/>
            </a:pPr>
            <a:r>
              <a:rPr kumimoji="0" lang="en-US" sz="16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visions against off-taker, political and currency risk</a:t>
            </a:r>
          </a:p>
        </p:txBody>
      </p:sp>
    </p:spTree>
    <p:extLst>
      <p:ext uri="{BB962C8B-B14F-4D97-AF65-F5344CB8AC3E}">
        <p14:creationId xmlns:p14="http://schemas.microsoft.com/office/powerpoint/2010/main" val="39995608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7772400" cy="457200"/>
          </a:xfrm>
        </p:spPr>
        <p:txBody>
          <a:bodyPr/>
          <a:lstStyle/>
          <a:p>
            <a:pPr algn="ctr"/>
            <a:r>
              <a:rPr lang="en-US" dirty="0"/>
              <a:t>Simulation </a:t>
            </a:r>
            <a:r>
              <a:rPr lang="de-DE" dirty="0"/>
              <a:t>–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winner‘s</a:t>
            </a:r>
            <a:r>
              <a:rPr lang="de-DE" dirty="0"/>
              <a:t> </a:t>
            </a:r>
            <a:r>
              <a:rPr lang="de-DE" dirty="0" err="1"/>
              <a:t>cur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362200"/>
            <a:ext cx="7772400" cy="3429000"/>
          </a:xfrm>
        </p:spPr>
        <p:txBody>
          <a:bodyPr/>
          <a:lstStyle/>
          <a:p>
            <a:pPr marL="457200" lvl="0" indent="-457200">
              <a:spcBef>
                <a:spcPts val="1800"/>
              </a:spcBef>
              <a:buFont typeface="+mj-lt"/>
              <a:buAutoNum type="arabicPeriod"/>
            </a:pPr>
            <a:r>
              <a:rPr lang="en-US" sz="1900" dirty="0"/>
              <a:t>Procurement auction for similar project</a:t>
            </a:r>
          </a:p>
          <a:p>
            <a:pPr marL="457200" lvl="0" indent="-457200">
              <a:spcBef>
                <a:spcPts val="1800"/>
              </a:spcBef>
              <a:buFont typeface="+mj-lt"/>
              <a:buAutoNum type="arabicPeriod"/>
            </a:pPr>
            <a:r>
              <a:rPr lang="en-US" sz="1900" dirty="0"/>
              <a:t>The bidder has difficulty in estimating his costs (symbolized by a can with cash). Each bidder estimates the amount of the cash in the can and notes it on a piece of paper. Cover the piece of paper.</a:t>
            </a:r>
          </a:p>
          <a:p>
            <a:pPr marL="457200" lvl="0" indent="-457200">
              <a:spcBef>
                <a:spcPts val="1800"/>
              </a:spcBef>
              <a:buFont typeface="+mj-lt"/>
              <a:buAutoNum type="arabicPeriod"/>
            </a:pPr>
            <a:r>
              <a:rPr lang="en-US" sz="1900" dirty="0"/>
              <a:t>Static sealed bid auction – all bidders hand in their bids at the same time </a:t>
            </a:r>
          </a:p>
          <a:p>
            <a:pPr marL="457200" lvl="0" indent="-457200">
              <a:spcBef>
                <a:spcPts val="1800"/>
              </a:spcBef>
              <a:buFont typeface="+mj-lt"/>
              <a:buAutoNum type="arabicPeriod"/>
            </a:pPr>
            <a:r>
              <a:rPr lang="en-US" sz="1900" dirty="0"/>
              <a:t>Each bidder decides on a bid price and writes it on a piece of paper. </a:t>
            </a:r>
          </a:p>
          <a:p>
            <a:pPr marL="457200" lvl="0" indent="-457200">
              <a:spcBef>
                <a:spcPts val="1800"/>
              </a:spcBef>
              <a:buFont typeface="+mj-lt"/>
              <a:buAutoNum type="arabicPeriod"/>
            </a:pPr>
            <a:r>
              <a:rPr lang="en-US" sz="1900" dirty="0"/>
              <a:t>Announcement and evaluation of the results</a:t>
            </a:r>
          </a:p>
          <a:p>
            <a:pPr lvl="0"/>
            <a:endParaRPr lang="en-US" sz="1900" dirty="0"/>
          </a:p>
          <a:p>
            <a:pPr marL="0" indent="0">
              <a:buNone/>
            </a:pPr>
            <a:endParaRPr lang="en-US" sz="19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EC06E6-BD3E-43D5-B564-D430FEFAD81F}"/>
              </a:ext>
            </a:extLst>
          </p:cNvPr>
          <p:cNvSpPr txBox="1"/>
          <p:nvPr/>
        </p:nvSpPr>
        <p:spPr>
          <a:xfrm>
            <a:off x="7146557" y="6116935"/>
            <a:ext cx="18450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Base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on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Takon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by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Ehrhart, 2016</a:t>
            </a: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69480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1447800"/>
            <a:ext cx="7772400" cy="457200"/>
          </a:xfrm>
        </p:spPr>
        <p:txBody>
          <a:bodyPr/>
          <a:lstStyle/>
          <a:p>
            <a:pPr algn="ctr"/>
            <a:r>
              <a:rPr lang="en-US" dirty="0"/>
              <a:t>Introduction to the problem of the winner‘s cur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5800" y="2133600"/>
            <a:ext cx="7772400" cy="3429000"/>
          </a:xfrm>
        </p:spPr>
        <p:txBody>
          <a:bodyPr/>
          <a:lstStyle/>
          <a:p>
            <a:r>
              <a:rPr lang="en-US" sz="1900" dirty="0"/>
              <a:t>Definition</a:t>
            </a:r>
          </a:p>
          <a:p>
            <a:pPr lvl="1"/>
            <a:r>
              <a:rPr lang="en-US" sz="1900" dirty="0"/>
              <a:t>Auction bid price is less than the actual value of the good, which will result in a loss for the auction winner</a:t>
            </a:r>
          </a:p>
          <a:p>
            <a:r>
              <a:rPr lang="en-US" sz="1900" dirty="0"/>
              <a:t>Example</a:t>
            </a:r>
          </a:p>
          <a:p>
            <a:pPr lvl="1"/>
            <a:r>
              <a:rPr lang="en-US" sz="1900" dirty="0"/>
              <a:t>Excessive yield or underestimated costs</a:t>
            </a:r>
          </a:p>
          <a:p>
            <a:r>
              <a:rPr lang="en-US" sz="1900" dirty="0"/>
              <a:t>Impact on bidders</a:t>
            </a:r>
          </a:p>
          <a:p>
            <a:pPr lvl="1"/>
            <a:r>
              <a:rPr lang="en-US" sz="1900" dirty="0"/>
              <a:t>Often bidders tend to estimate the costs relatively well</a:t>
            </a:r>
          </a:p>
          <a:p>
            <a:pPr lvl="1"/>
            <a:r>
              <a:rPr lang="en-US" sz="1900" dirty="0"/>
              <a:t>If bidders are guided by their cost estimates in their bid strategy, the bidder who underestimates costs wins the auction</a:t>
            </a:r>
          </a:p>
          <a:p>
            <a:r>
              <a:rPr lang="en-US" sz="1900" dirty="0"/>
              <a:t>Adequate bidding behavior</a:t>
            </a:r>
          </a:p>
          <a:p>
            <a:pPr lvl="1"/>
            <a:r>
              <a:rPr lang="en-US" sz="1900" dirty="0"/>
              <a:t>Upward adjustment of the cost estimation in case of having a winning bid</a:t>
            </a:r>
          </a:p>
          <a:p>
            <a:pPr lvl="1"/>
            <a:r>
              <a:rPr lang="en-US" sz="1900" dirty="0"/>
              <a:t>Adjustment of the bid where possible</a:t>
            </a:r>
            <a:endParaRPr lang="en-GB" sz="19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643B626-108E-48ED-8EB1-4C46BD4E3B71}"/>
              </a:ext>
            </a:extLst>
          </p:cNvPr>
          <p:cNvSpPr txBox="1"/>
          <p:nvPr/>
        </p:nvSpPr>
        <p:spPr>
          <a:xfrm>
            <a:off x="7146557" y="6116935"/>
            <a:ext cx="18450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Based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on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Takon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</a:t>
            </a:r>
            <a:r>
              <a:rPr kumimoji="0" lang="de-DE" sz="1200" b="0" i="1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by</a:t>
            </a:r>
            <a:r>
              <a:rPr kumimoji="0" lang="de-DE" sz="12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Ehrhart, 2016</a:t>
            </a:r>
            <a:endParaRPr kumimoji="0" lang="en-GB" sz="1200" b="0" i="1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66788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UmT1EATUA0.cmnU74d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4JLw9TQmB8zMxgOTx.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SAID NARUC template">
  <a:themeElements>
    <a:clrScheme name="USAID NARUC templat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USAID NARUC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/>
          </a:defRPr>
        </a:defPPr>
      </a:lstStyle>
    </a:lnDef>
  </a:objectDefaults>
  <a:extraClrSchemeLst>
    <a:extraClrScheme>
      <a:clrScheme name="USAID NARUC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ID NARUC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ID NARUC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ID NARUC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ID NARUC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SAID NARUC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SAID NARUC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4.xml><?xml version="1.0" encoding="utf-8"?>
<a:theme xmlns:a="http://schemas.openxmlformats.org/drawingml/2006/main" name="Presentation_Refresh 4:3">
  <a:themeElements>
    <a:clrScheme name="Custom 5">
      <a:dk1>
        <a:srgbClr val="555759"/>
      </a:dk1>
      <a:lt1>
        <a:sysClr val="window" lastClr="FFFFFF"/>
      </a:lt1>
      <a:dk2>
        <a:srgbClr val="555759"/>
      </a:dk2>
      <a:lt2>
        <a:srgbClr val="FFFFFF"/>
      </a:lt2>
      <a:accent1>
        <a:srgbClr val="555759"/>
      </a:accent1>
      <a:accent2>
        <a:srgbClr val="95D600"/>
      </a:accent2>
      <a:accent3>
        <a:srgbClr val="0093C9"/>
      </a:accent3>
      <a:accent4>
        <a:srgbClr val="FFB718"/>
      </a:accent4>
      <a:accent5>
        <a:srgbClr val="E53C2E"/>
      </a:accent5>
      <a:accent6>
        <a:srgbClr val="8B189B"/>
      </a:accent6>
      <a:hlink>
        <a:srgbClr val="85D206"/>
      </a:hlink>
      <a:folHlink>
        <a:srgbClr val="648C1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j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Palatino Linotype" pitchFamily="18" charset="0"/>
          </a:defRPr>
        </a:defPPr>
      </a:lstStyle>
    </a:lnDef>
  </a:objectDefaults>
  <a:extraClrSchemeLst>
    <a:extraClrScheme>
      <a:clrScheme name="NCI Powerpoint 1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B887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8C3AF"/>
        </a:accent5>
        <a:accent6>
          <a:srgbClr val="384210"/>
        </a:accent6>
        <a:hlink>
          <a:srgbClr val="093678"/>
        </a:hlink>
        <a:folHlink>
          <a:srgbClr val="A15F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2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AB6240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D2B7AF"/>
        </a:accent5>
        <a:accent6>
          <a:srgbClr val="384210"/>
        </a:accent6>
        <a:hlink>
          <a:srgbClr val="093678"/>
        </a:hlink>
        <a:folHlink>
          <a:srgbClr val="8F2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3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576"/>
        </a:accent1>
        <a:accent2>
          <a:srgbClr val="3F4A13"/>
        </a:accent2>
        <a:accent3>
          <a:srgbClr val="FFFFFF"/>
        </a:accent3>
        <a:accent4>
          <a:srgbClr val="000000"/>
        </a:accent4>
        <a:accent5>
          <a:srgbClr val="C2B4BD"/>
        </a:accent5>
        <a:accent6>
          <a:srgbClr val="384210"/>
        </a:accent6>
        <a:hlink>
          <a:srgbClr val="A15F00"/>
        </a:hlink>
        <a:folHlink>
          <a:srgbClr val="5C1C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4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46689A"/>
        </a:accent1>
        <a:accent2>
          <a:srgbClr val="5C2801"/>
        </a:accent2>
        <a:accent3>
          <a:srgbClr val="FFFFFF"/>
        </a:accent3>
        <a:accent4>
          <a:srgbClr val="000000"/>
        </a:accent4>
        <a:accent5>
          <a:srgbClr val="B0B9CA"/>
        </a:accent5>
        <a:accent6>
          <a:srgbClr val="532301"/>
        </a:accent6>
        <a:hlink>
          <a:srgbClr val="17524E"/>
        </a:hlink>
        <a:folHlink>
          <a:srgbClr val="0936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5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517D7A"/>
        </a:accent1>
        <a:accent2>
          <a:srgbClr val="A15F00"/>
        </a:accent2>
        <a:accent3>
          <a:srgbClr val="FFFFFF"/>
        </a:accent3>
        <a:accent4>
          <a:srgbClr val="000000"/>
        </a:accent4>
        <a:accent5>
          <a:srgbClr val="B3BFBE"/>
        </a:accent5>
        <a:accent6>
          <a:srgbClr val="915500"/>
        </a:accent6>
        <a:hlink>
          <a:srgbClr val="5C1C49"/>
        </a:hlink>
        <a:folHlink>
          <a:srgbClr val="17524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6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6F774E"/>
        </a:accent1>
        <a:accent2>
          <a:srgbClr val="093678"/>
        </a:accent2>
        <a:accent3>
          <a:srgbClr val="FFFFFF"/>
        </a:accent3>
        <a:accent4>
          <a:srgbClr val="000000"/>
        </a:accent4>
        <a:accent5>
          <a:srgbClr val="BBBDB2"/>
        </a:accent5>
        <a:accent6>
          <a:srgbClr val="07306C"/>
        </a:accent6>
        <a:hlink>
          <a:srgbClr val="8F2E00"/>
        </a:hlink>
        <a:folHlink>
          <a:srgbClr val="3F4A1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CI Powerpoint 7">
        <a:dk1>
          <a:srgbClr val="000000"/>
        </a:dk1>
        <a:lt1>
          <a:srgbClr val="FFFFFF"/>
        </a:lt1>
        <a:dk2>
          <a:srgbClr val="6F6754"/>
        </a:dk2>
        <a:lt2>
          <a:srgbClr val="D8D6D2"/>
        </a:lt2>
        <a:accent1>
          <a:srgbClr val="855E40"/>
        </a:accent1>
        <a:accent2>
          <a:srgbClr val="17524E"/>
        </a:accent2>
        <a:accent3>
          <a:srgbClr val="FFFFFF"/>
        </a:accent3>
        <a:accent4>
          <a:srgbClr val="000000"/>
        </a:accent4>
        <a:accent5>
          <a:srgbClr val="C2B6AF"/>
        </a:accent5>
        <a:accent6>
          <a:srgbClr val="144946"/>
        </a:accent6>
        <a:hlink>
          <a:srgbClr val="8F2E00"/>
        </a:hlink>
        <a:folHlink>
          <a:srgbClr val="5C280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CORP_BrandRefreshNavigantTemplate4x3_PPT_FINAL.potx" id="{D18732E3-5FC8-4543-9315-A259989668F0}" vid="{E2EC561C-9127-47EA-9B2A-1ACA8630C48B}"/>
    </a:ext>
  </a:ext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Ecofys Project Document" ma:contentTypeID="0x01010041C754EF69CC447396707CDFA155F784009696BCE8E514CC458C353431DA29C38F" ma:contentTypeVersion="17" ma:contentTypeDescription="Create a new document." ma:contentTypeScope="" ma:versionID="7c47c2ac88c4e4f79e39479a5f6346cf">
  <xsd:schema xmlns:xsd="http://www.w3.org/2001/XMLSchema" xmlns:xs="http://www.w3.org/2001/XMLSchema" xmlns:p="http://schemas.microsoft.com/office/2006/metadata/properties" xmlns:ns2="8d9b4ab4-65b9-4a08-baeb-312269dd31de" xmlns:ns3="0a1b4e56-d53b-4711-9759-9c73f807a9f5" xmlns:ns4="06ca66ff-4745-4c28-90d8-cd26a62d6c1a" targetNamespace="http://schemas.microsoft.com/office/2006/metadata/properties" ma:root="true" ma:fieldsID="91245d4981d536bbcc8eadc75dc42721" ns2:_="" ns3:_="" ns4:_="">
    <xsd:import namespace="8d9b4ab4-65b9-4a08-baeb-312269dd31de"/>
    <xsd:import namespace="0a1b4e56-d53b-4711-9759-9c73f807a9f5"/>
    <xsd:import namespace="06ca66ff-4745-4c28-90d8-cd26a62d6c1a"/>
    <xsd:element name="properties">
      <xsd:complexType>
        <xsd:sequence>
          <xsd:element name="documentManagement">
            <xsd:complexType>
              <xsd:all>
                <xsd:element ref="ns2:ProjectDocumentDescription" minOccurs="0"/>
                <xsd:element ref="ns2:ProjectDocumentCategory"/>
                <xsd:element ref="ns2:Year" minOccurs="0"/>
                <xsd:element ref="ns2:Country" minOccurs="0"/>
                <xsd:element ref="ns2:Subcategory" minOccurs="0"/>
                <xsd:element ref="ns2:EcofysConfidential" minOccurs="0"/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d9b4ab4-65b9-4a08-baeb-312269dd31de" elementFormDefault="qualified">
    <xsd:import namespace="http://schemas.microsoft.com/office/2006/documentManagement/types"/>
    <xsd:import namespace="http://schemas.microsoft.com/office/infopath/2007/PartnerControls"/>
    <xsd:element name="ProjectDocumentDescription" ma:index="8" nillable="true" ma:displayName="Document Description" ma:internalName="ProjectDocumentDescription">
      <xsd:simpleType>
        <xsd:restriction base="dms:Note">
          <xsd:maxLength value="255"/>
        </xsd:restriction>
      </xsd:simpleType>
    </xsd:element>
    <xsd:element name="ProjectDocumentCategory" ma:index="9" ma:displayName="Document Category" ma:default="No Category" ma:internalName="ProjectDocumentCategory" ma:readOnly="false">
      <xsd:simpleType>
        <xsd:restriction base="dms:Choice">
          <xsd:enumeration value="Proposal"/>
          <xsd:enumeration value="QCL"/>
          <xsd:enumeration value="Budget"/>
          <xsd:enumeration value="Contract"/>
          <xsd:enumeration value="Communication"/>
          <xsd:enumeration value="Minutes"/>
          <xsd:enumeration value="Data"/>
          <xsd:enumeration value="Report"/>
          <xsd:enumeration value="Background information"/>
          <xsd:enumeration value="Invoice"/>
          <xsd:enumeration value="Planning and control"/>
          <xsd:enumeration value="Presentation"/>
          <xsd:enumeration value="Image"/>
          <xsd:enumeration value="Sub-contract"/>
          <xsd:enumeration value="Drawing"/>
          <xsd:enumeration value="Analysis"/>
          <xsd:enumeration value="CV"/>
          <xsd:enumeration value="No Category"/>
          <xsd:enumeration value="Tender document"/>
          <xsd:enumeration value="Travel"/>
        </xsd:restriction>
      </xsd:simpleType>
    </xsd:element>
    <xsd:element name="Year" ma:index="10" nillable="true" ma:displayName="Year" ma:default="" ma:internalName="Year">
      <xsd:simpleType>
        <xsd:restriction base="dms:Choice">
          <xsd:enumeration value="2000"/>
          <xsd:enumeration value="2001"/>
          <xsd:enumeration value="2002"/>
          <xsd:enumeration value="2003"/>
          <xsd:enumeration value="2004"/>
          <xsd:enumeration value="2005"/>
          <xsd:enumeration value="2006"/>
          <xsd:enumeration value="2007"/>
          <xsd:enumeration value="2008"/>
          <xsd:enumeration value="2009"/>
          <xsd:enumeration value="2010"/>
          <xsd:enumeration value="2011"/>
          <xsd:enumeration value="2012"/>
          <xsd:enumeration value="2013"/>
          <xsd:enumeration value="2014"/>
          <xsd:enumeration value="2015"/>
          <xsd:enumeration value="2016"/>
          <xsd:enumeration value="2017"/>
          <xsd:enumeration value="2018"/>
          <xsd:enumeration value="2019"/>
          <xsd:enumeration value="2020"/>
          <xsd:enumeration value="2021"/>
          <xsd:enumeration value="2022"/>
          <xsd:enumeration value="2023"/>
          <xsd:enumeration value="2024"/>
          <xsd:enumeration value="2025"/>
        </xsd:restriction>
      </xsd:simpleType>
    </xsd:element>
    <xsd:element name="Country" ma:index="11" nillable="true" ma:displayName="Country" ma:default="" ma:internalName="Country">
      <xsd:simpleType>
        <xsd:restriction base="dms:Choice">
          <xsd:enumeration value=".Africa (region)"/>
          <xsd:enumeration value=".APEC countries (region)"/>
          <xsd:enumeration value=".Asia (region)"/>
          <xsd:enumeration value=".EU (region)"/>
          <xsd:enumeration value=".Euromed (region)"/>
          <xsd:enumeration value=".Global/World (region)"/>
          <xsd:enumeration value=".Latin America (region)"/>
          <xsd:enumeration value=".MENA (region)"/>
          <xsd:enumeration value=".OHADA (region)"/>
          <xsd:enumeration value=".OPEC countries (region)"/>
          <xsd:enumeration value="Albania"/>
          <xsd:enumeration value="Algeria"/>
          <xsd:enumeration value="Angola"/>
          <xsd:enumeration value="Antigua and Barbuda"/>
          <xsd:enumeration value="Argentina"/>
          <xsd:enumeration value="Australia"/>
          <xsd:enumeration value="Austria"/>
          <xsd:enumeration value="Bahrain"/>
          <xsd:enumeration value="Barbados"/>
          <xsd:enumeration value="Belgium"/>
          <xsd:enumeration value="Belize"/>
          <xsd:enumeration value="Benelux"/>
          <xsd:enumeration value="Benin"/>
          <xsd:enumeration value="Benin"/>
          <xsd:enumeration value="Bolivia"/>
          <xsd:enumeration value="Bonaire"/>
          <xsd:enumeration value="Botswana"/>
          <xsd:enumeration value="Brazil"/>
          <xsd:enumeration value="Brunei"/>
          <xsd:enumeration value="Bulgaria"/>
          <xsd:enumeration value="Burkina Faso"/>
          <xsd:enumeration value="Burkina Faso"/>
          <xsd:enumeration value="Burundi"/>
          <xsd:enumeration value="Cameroon"/>
          <xsd:enumeration value="Canada"/>
          <xsd:enumeration value="Cape Verde"/>
          <xsd:enumeration value="Central African Republic"/>
          <xsd:enumeration value="Chad"/>
          <xsd:enumeration value="Chile"/>
          <xsd:enumeration value="Chinese Taipei"/>
          <xsd:enumeration value="Colombia"/>
          <xsd:enumeration value="Comoros"/>
          <xsd:enumeration value="Congo"/>
          <xsd:enumeration value="Costa Rica"/>
          <xsd:enumeration value="Cote d'Ivoire"/>
          <xsd:enumeration value="Cyprus"/>
          <xsd:enumeration value="Czech Republic"/>
          <xsd:enumeration value="Dem. Rep. Congo (Zaire)"/>
          <xsd:enumeration value="Denmark"/>
          <xsd:enumeration value="Djibouti"/>
          <xsd:enumeration value="Dominica"/>
          <xsd:enumeration value="Dominican Republic"/>
          <xsd:enumeration value="Ecuador"/>
          <xsd:enumeration value="Egypt"/>
          <xsd:enumeration value="El Salvador"/>
          <xsd:enumeration value="Equatorial Guinea"/>
          <xsd:enumeration value="Estonia"/>
          <xsd:enumeration value="Ethiopia"/>
          <xsd:enumeration value="Europe"/>
          <xsd:enumeration value="Finland"/>
          <xsd:enumeration value="France"/>
          <xsd:enumeration value="Gabon"/>
          <xsd:enumeration value="Gambia"/>
          <xsd:enumeration value="Germany"/>
          <xsd:enumeration value="Ghana"/>
          <xsd:enumeration value="Greece"/>
          <xsd:enumeration value="Grenada"/>
          <xsd:enumeration value="Guatemala"/>
          <xsd:enumeration value="Guinea"/>
          <xsd:enumeration value="Guinea Bissau"/>
          <xsd:enumeration value="Guyana"/>
          <xsd:enumeration value="Haiti"/>
          <xsd:enumeration value="Honduras"/>
          <xsd:enumeration value="Hong Kong, China"/>
          <xsd:enumeration value="Hungary"/>
          <xsd:enumeration value="Iceland"/>
          <xsd:enumeration value="India"/>
          <xsd:enumeration value="Indonesia"/>
          <xsd:enumeration value="Iran"/>
          <xsd:enumeration value="Iraq"/>
          <xsd:enumeration value="Ireland"/>
          <xsd:enumeration value="Israel"/>
          <xsd:enumeration value="Italy"/>
          <xsd:enumeration value="Ivory Coast"/>
          <xsd:enumeration value="Jamaica"/>
          <xsd:enumeration value="Japan"/>
          <xsd:enumeration value="Jordan"/>
          <xsd:enumeration value="Kazakhstan"/>
          <xsd:enumeration value="Kenya"/>
          <xsd:enumeration value="Korea, North"/>
          <xsd:enumeration value="Korea, South"/>
          <xsd:enumeration value="Kuwait"/>
          <xsd:enumeration value="Kyrgyzstan"/>
          <xsd:enumeration value="Latvia"/>
          <xsd:enumeration value="Lebanon"/>
          <xsd:enumeration value="Lesotho"/>
          <xsd:enumeration value="Liberia"/>
          <xsd:enumeration value="Libya"/>
          <xsd:enumeration value="Lithuania"/>
          <xsd:enumeration value="Luxembourg"/>
          <xsd:enumeration value="Madagascar"/>
          <xsd:enumeration value="Malawi"/>
          <xsd:enumeration value="Malaysia"/>
          <xsd:enumeration value="Maldives"/>
          <xsd:enumeration value="Mali"/>
          <xsd:enumeration value="Malta"/>
          <xsd:enumeration value="Mauritania"/>
          <xsd:enumeration value="Mauritius"/>
          <xsd:enumeration value="Mexico"/>
          <xsd:enumeration value="Moldova"/>
          <xsd:enumeration value="Mongolia"/>
          <xsd:enumeration value="Morocco"/>
          <xsd:enumeration value="Mozambique"/>
          <xsd:enumeration value="Myanmar"/>
          <xsd:enumeration value="Namibia"/>
          <xsd:enumeration value="Nepal"/>
          <xsd:enumeration value="New Zealand"/>
          <xsd:enumeration value="Nicaragua"/>
          <xsd:enumeration value="Niger"/>
          <xsd:enumeration value="Nigeria"/>
          <xsd:enumeration value="Oman"/>
          <xsd:enumeration value="Pakistan"/>
          <xsd:enumeration value="Palestinian territories"/>
          <xsd:enumeration value="Panama"/>
          <xsd:enumeration value="Papua New Guinea"/>
          <xsd:enumeration value="Paraguay"/>
          <xsd:enumeration value="People's Republic of China"/>
          <xsd:enumeration value="Peru"/>
          <xsd:enumeration value="Peru"/>
          <xsd:enumeration value="Philippines"/>
          <xsd:enumeration value="Poland"/>
          <xsd:enumeration value="Portugal"/>
          <xsd:enumeration value="Qatar"/>
          <xsd:enumeration value="Reunion"/>
          <xsd:enumeration value="Romania"/>
          <xsd:enumeration value="Russia"/>
          <xsd:enumeration value="Rwanda"/>
          <xsd:enumeration value="Saint Kitts and Nevis"/>
          <xsd:enumeration value="Saint Lucia"/>
          <xsd:enumeration value="Saint Vincent and the Grenadines"/>
          <xsd:enumeration value="São Tomé and Principe"/>
          <xsd:enumeration value="Saudi Arabia"/>
          <xsd:enumeration value="Senegal"/>
          <xsd:enumeration value="Seychelles"/>
          <xsd:enumeration value="Sierra Leone"/>
          <xsd:enumeration value="Singapore"/>
          <xsd:enumeration value="Singapore"/>
          <xsd:enumeration value="Slovakia"/>
          <xsd:enumeration value="Slovenia"/>
          <xsd:enumeration value="Somalia"/>
          <xsd:enumeration value="South Africa"/>
          <xsd:enumeration value="Spain"/>
          <xsd:enumeration value="Sri Lanka"/>
          <xsd:enumeration value="Sudan"/>
          <xsd:enumeration value="Suriname"/>
          <xsd:enumeration value="Swaziland"/>
          <xsd:enumeration value="Sweden"/>
          <xsd:enumeration value="Switzerland"/>
          <xsd:enumeration value="Syria"/>
          <xsd:enumeration value="Taiwan"/>
          <xsd:enumeration value="Tajikistan"/>
          <xsd:enumeration value="Tanzania"/>
          <xsd:enumeration value="Thailand"/>
          <xsd:enumeration value="The Bahamas"/>
          <xsd:enumeration value="The Netherlands"/>
          <xsd:enumeration value="Togo"/>
          <xsd:enumeration value="Trinidad and Tobago"/>
          <xsd:enumeration value="Tunisia"/>
          <xsd:enumeration value="Turkey"/>
          <xsd:enumeration value="Turkmenistan"/>
          <xsd:enumeration value="Uganda"/>
          <xsd:enumeration value="Ukraine"/>
          <xsd:enumeration value="United Arab Emirates"/>
          <xsd:enumeration value="United Kingdom"/>
          <xsd:enumeration value="United States"/>
          <xsd:enumeration value="Uruguay"/>
          <xsd:enumeration value="Uzbekistan"/>
          <xsd:enumeration value="Venezuela"/>
          <xsd:enumeration value="Vietnam"/>
          <xsd:enumeration value="Yemen"/>
          <xsd:enumeration value="Zambia"/>
          <xsd:enumeration value="Zanzibar"/>
          <xsd:enumeration value="Zimbabwe"/>
        </xsd:restriction>
      </xsd:simpleType>
    </xsd:element>
    <xsd:element name="Subcategory" ma:index="12" nillable="true" ma:displayName="Sub category" ma:default="" ma:internalName="Subcategory">
      <xsd:simpleType>
        <xsd:restriction base="dms:Choice">
          <xsd:enumeration value="None"/>
        </xsd:restriction>
      </xsd:simpleType>
    </xsd:element>
    <xsd:element name="EcofysConfidential" ma:index="13" nillable="true" ma:displayName="Confidential" ma:default="0" ma:internalName="EcofysConfidential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1b4e56-d53b-4711-9759-9c73f807a9f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9" nillable="true" ma:displayName="MediaServiceAutoTags" ma:internalName="MediaServiceAutoTags" ma:readOnly="true">
      <xsd:simpleType>
        <xsd:restriction base="dms:Text"/>
      </xsd:simpleType>
    </xsd:element>
    <xsd:element name="MediaServiceLocation" ma:index="20" nillable="true" ma:displayName="MediaServiceLocation" ma:internalName="MediaServiceLocation" ma:readOnly="true">
      <xsd:simpleType>
        <xsd:restriction base="dms:Text"/>
      </xsd:simpleType>
    </xsd:element>
    <xsd:element name="MediaServiceOCR" ma:index="2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66ff-4745-4c28-90d8-cd26a62d6c1a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EcofysConfidential xmlns="8d9b4ab4-65b9-4a08-baeb-312269dd31de">false</EcofysConfidential>
    <ProjectDocumentDescription xmlns="8d9b4ab4-65b9-4a08-baeb-312269dd31de" xsi:nil="true"/>
    <Subcategory xmlns="8d9b4ab4-65b9-4a08-baeb-312269dd31de" xsi:nil="true"/>
    <ProjectDocumentCategory xmlns="8d9b4ab4-65b9-4a08-baeb-312269dd31de">No Category</ProjectDocumentCategory>
    <Country xmlns="8d9b4ab4-65b9-4a08-baeb-312269dd31de" xsi:nil="true"/>
    <Year xmlns="8d9b4ab4-65b9-4a08-baeb-312269dd31de" xsi:nil="true"/>
  </documentManagement>
</p:properties>
</file>

<file path=customXml/itemProps1.xml><?xml version="1.0" encoding="utf-8"?>
<ds:datastoreItem xmlns:ds="http://schemas.openxmlformats.org/officeDocument/2006/customXml" ds:itemID="{45964D9D-0AEF-4E7B-AC97-DED65AE3103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d9b4ab4-65b9-4a08-baeb-312269dd31de"/>
    <ds:schemaRef ds:uri="0a1b4e56-d53b-4711-9759-9c73f807a9f5"/>
    <ds:schemaRef ds:uri="06ca66ff-4745-4c28-90d8-cd26a62d6c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12C8FC1-BD49-4C88-A50F-EC357AE4725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DEF2D55-2D5D-4045-9E97-087E19A09B4F}">
  <ds:schemaRefs>
    <ds:schemaRef ds:uri="06ca66ff-4745-4c28-90d8-cd26a62d6c1a"/>
    <ds:schemaRef ds:uri="http://purl.org/dc/elements/1.1/"/>
    <ds:schemaRef ds:uri="http://schemas.microsoft.com/office/2006/metadata/properties"/>
    <ds:schemaRef ds:uri="8d9b4ab4-65b9-4a08-baeb-312269dd31de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http://schemas.microsoft.com/office/2006/documentManagement/types"/>
    <ds:schemaRef ds:uri="0a1b4e56-d53b-4711-9759-9c73f807a9f5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SAID NARUC template</Template>
  <TotalTime>14941</TotalTime>
  <Words>1574</Words>
  <Application>Microsoft Office PowerPoint</Application>
  <PresentationFormat>On-screen Show (4:3)</PresentationFormat>
  <Paragraphs>325</Paragraphs>
  <Slides>1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1" baseType="lpstr">
      <vt:lpstr>Arial</vt:lpstr>
      <vt:lpstr>Arial Narrow</vt:lpstr>
      <vt:lpstr>Calibri</vt:lpstr>
      <vt:lpstr>Courier New</vt:lpstr>
      <vt:lpstr>Gill Sans MT</vt:lpstr>
      <vt:lpstr>Palatino Linotype</vt:lpstr>
      <vt:lpstr>Times</vt:lpstr>
      <vt:lpstr>Verdana</vt:lpstr>
      <vt:lpstr>Wingdings</vt:lpstr>
      <vt:lpstr>USAID NARUC template</vt:lpstr>
      <vt:lpstr>Custom Design</vt:lpstr>
      <vt:lpstr>3_Presentation_Refresh 4:3</vt:lpstr>
      <vt:lpstr>Presentation_Refresh 4:3</vt:lpstr>
      <vt:lpstr>think-cell Slide</vt:lpstr>
      <vt:lpstr>Comparative Analysis of Competitive Procurement Mechanisms</vt:lpstr>
      <vt:lpstr>Agenda</vt:lpstr>
      <vt:lpstr>Feed-in tariffs provide high certainty for developers, but little volume control and price competition</vt:lpstr>
      <vt:lpstr>Bilateral deals suitable for less mature markets, but are less scalable and transparent</vt:lpstr>
      <vt:lpstr>Auctions provide strong volume control, price pressure and scalability, but need competition</vt:lpstr>
      <vt:lpstr>Focus on auctions: overview of auction design</vt:lpstr>
      <vt:lpstr>Overview of different design elements and functions</vt:lpstr>
      <vt:lpstr>Simulation – the winner‘s curse</vt:lpstr>
      <vt:lpstr>Introduction to the problem of the winner‘s curse</vt:lpstr>
      <vt:lpstr>Site selection and preparation: benefits and challenges</vt:lpstr>
      <vt:lpstr>Site selection and preparation: country examples</vt:lpstr>
      <vt:lpstr>Ceiling prices control costs and generate market signals, but setting is a challenge</vt:lpstr>
      <vt:lpstr>Most countries disclose ceiling prices</vt:lpstr>
      <vt:lpstr>Technical requirements and financial guarantees ensure quality of projects in auction</vt:lpstr>
      <vt:lpstr>Penalties enforce project realization </vt:lpstr>
      <vt:lpstr>Conclusion</vt:lpstr>
      <vt:lpstr>Questions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parative Analysis of Competitive Procurement Mechanisms</dc:title>
  <dc:subject>This presentation provides an analysis of several competitive procurement mechanisms for renewable energy auctions.</dc:subject>
  <dc:creator>Navigant--A Guidehouse Company</dc:creator>
  <cp:keywords>Renewable energy auctions, tariffs, design, bidder, site, ceiling price, technical requirements, financial guarantees, financial penalties</cp:keywords>
  <cp:lastModifiedBy>Bradley, Bridget</cp:lastModifiedBy>
  <cp:revision>255</cp:revision>
  <cp:lastPrinted>2004-09-30T16:41:33Z</cp:lastPrinted>
  <dcterms:created xsi:type="dcterms:W3CDTF">2009-12-10T17:09:01Z</dcterms:created>
  <dcterms:modified xsi:type="dcterms:W3CDTF">2020-07-03T16:3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C754EF69CC447396707CDFA155F784009696BCE8E514CC458C353431DA29C38F</vt:lpwstr>
  </property>
</Properties>
</file>